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  <p:sldMasterId id="2147484292" r:id="rId2"/>
    <p:sldMasterId id="2147484601" r:id="rId3"/>
    <p:sldMasterId id="2147484658" r:id="rId4"/>
  </p:sldMasterIdLst>
  <p:sldIdLst>
    <p:sldId id="261" r:id="rId5"/>
    <p:sldId id="262" r:id="rId6"/>
    <p:sldId id="263" r:id="rId7"/>
    <p:sldId id="264" r:id="rId8"/>
    <p:sldId id="265" r:id="rId9"/>
    <p:sldId id="266" r:id="rId10"/>
    <p:sldId id="267" r:id="rId11"/>
    <p:sldId id="268" r:id="rId12"/>
  </p:sldIdLst>
  <p:sldSz cx="9906000" cy="6858000" type="A4"/>
  <p:notesSz cx="6807200" cy="9939338"/>
  <p:defaultTextStyle>
    <a:defPPr>
      <a:defRPr lang="ja-JP"/>
    </a:defPPr>
    <a:lvl1pPr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mbria" panose="02040503050406030204" pitchFamily="18" charset="0"/>
        <a:ea typeface="メイリオ" panose="020B0604030504040204" pitchFamily="50" charset="-128"/>
        <a:cs typeface="メイリオ" panose="020B0604030504040204" pitchFamily="50" charset="-128"/>
      </a:defRPr>
    </a:lvl1pPr>
    <a:lvl2pPr marL="457200"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mbria" panose="02040503050406030204" pitchFamily="18" charset="0"/>
        <a:ea typeface="メイリオ" panose="020B0604030504040204" pitchFamily="50" charset="-128"/>
        <a:cs typeface="メイリオ" panose="020B0604030504040204" pitchFamily="50" charset="-128"/>
      </a:defRPr>
    </a:lvl2pPr>
    <a:lvl3pPr marL="914400"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mbria" panose="02040503050406030204" pitchFamily="18" charset="0"/>
        <a:ea typeface="メイリオ" panose="020B0604030504040204" pitchFamily="50" charset="-128"/>
        <a:cs typeface="メイリオ" panose="020B0604030504040204" pitchFamily="50" charset="-128"/>
      </a:defRPr>
    </a:lvl3pPr>
    <a:lvl4pPr marL="1371600"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mbria" panose="02040503050406030204" pitchFamily="18" charset="0"/>
        <a:ea typeface="メイリオ" panose="020B0604030504040204" pitchFamily="50" charset="-128"/>
        <a:cs typeface="メイリオ" panose="020B0604030504040204" pitchFamily="50" charset="-128"/>
      </a:defRPr>
    </a:lvl4pPr>
    <a:lvl5pPr marL="1828800"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mbria" panose="02040503050406030204" pitchFamily="18" charset="0"/>
        <a:ea typeface="メイリオ" panose="020B0604030504040204" pitchFamily="50" charset="-128"/>
        <a:cs typeface="メイリオ" panose="020B0604030504040204" pitchFamily="50" charset="-128"/>
      </a:defRPr>
    </a:lvl5pPr>
    <a:lvl6pPr marL="2286000" algn="l" defTabSz="914400" rtl="0" eaLnBrk="1" latinLnBrk="0" hangingPunct="1">
      <a:defRPr kumimoji="1" kern="1200">
        <a:solidFill>
          <a:schemeClr val="tx1"/>
        </a:solidFill>
        <a:latin typeface="Cambria" panose="02040503050406030204" pitchFamily="18" charset="0"/>
        <a:ea typeface="メイリオ" panose="020B0604030504040204" pitchFamily="50" charset="-128"/>
        <a:cs typeface="メイリオ" panose="020B0604030504040204" pitchFamily="50" charset="-128"/>
      </a:defRPr>
    </a:lvl6pPr>
    <a:lvl7pPr marL="2743200" algn="l" defTabSz="914400" rtl="0" eaLnBrk="1" latinLnBrk="0" hangingPunct="1">
      <a:defRPr kumimoji="1" kern="1200">
        <a:solidFill>
          <a:schemeClr val="tx1"/>
        </a:solidFill>
        <a:latin typeface="Cambria" panose="02040503050406030204" pitchFamily="18" charset="0"/>
        <a:ea typeface="メイリオ" panose="020B0604030504040204" pitchFamily="50" charset="-128"/>
        <a:cs typeface="メイリオ" panose="020B0604030504040204" pitchFamily="50" charset="-128"/>
      </a:defRPr>
    </a:lvl7pPr>
    <a:lvl8pPr marL="3200400" algn="l" defTabSz="914400" rtl="0" eaLnBrk="1" latinLnBrk="0" hangingPunct="1">
      <a:defRPr kumimoji="1" kern="1200">
        <a:solidFill>
          <a:schemeClr val="tx1"/>
        </a:solidFill>
        <a:latin typeface="Cambria" panose="02040503050406030204" pitchFamily="18" charset="0"/>
        <a:ea typeface="メイリオ" panose="020B0604030504040204" pitchFamily="50" charset="-128"/>
        <a:cs typeface="メイリオ" panose="020B0604030504040204" pitchFamily="50" charset="-128"/>
      </a:defRPr>
    </a:lvl8pPr>
    <a:lvl9pPr marL="3657600" algn="l" defTabSz="914400" rtl="0" eaLnBrk="1" latinLnBrk="0" hangingPunct="1">
      <a:defRPr kumimoji="1" kern="1200">
        <a:solidFill>
          <a:schemeClr val="tx1"/>
        </a:solidFill>
        <a:latin typeface="Cambria" panose="02040503050406030204" pitchFamily="18" charset="0"/>
        <a:ea typeface="メイリオ" panose="020B0604030504040204" pitchFamily="50" charset="-128"/>
        <a:cs typeface="メイリオ" panose="020B0604030504040204" pitchFamily="50" charset="-128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D9F1"/>
    <a:srgbClr val="4A91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淡色スタイル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8A107856-5554-42FB-B03E-39F5DBC370BA}" styleName="中間スタイル 4 - アクセント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B301B821-A1FF-4177-AEE7-76D212191A09}" styleName="中間スタイル 1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0A1B5D5-9B99-4C35-A422-299274C87663}" styleName="中間スタイル 1 - アクセント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5809" autoAdjust="0"/>
    <p:restoredTop sz="94660"/>
  </p:normalViewPr>
  <p:slideViewPr>
    <p:cSldViewPr>
      <p:cViewPr varScale="1">
        <p:scale>
          <a:sx n="72" d="100"/>
          <a:sy n="72" d="100"/>
        </p:scale>
        <p:origin x="732" y="54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.xml"/><Relationship Id="rId7" Type="http://schemas.openxmlformats.org/officeDocument/2006/relationships/oleObject" Target="../embeddings/oleObject6.bin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.xml"/><Relationship Id="rId7" Type="http://schemas.openxmlformats.org/officeDocument/2006/relationships/oleObject" Target="../embeddings/oleObject6.bin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メインタイトル"/>
          <p:cNvSpPr txBox="1">
            <a:spLocks noChangeArrowheads="1"/>
          </p:cNvSpPr>
          <p:nvPr userDrawn="1"/>
        </p:nvSpPr>
        <p:spPr bwMode="auto">
          <a:xfrm>
            <a:off x="742950" y="2130425"/>
            <a:ext cx="8420100" cy="2306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 algn="ctr" eaLnBrk="1" hangingPunct="1">
              <a:defRPr/>
            </a:pPr>
            <a:endParaRPr lang="en-US" altLang="ja-JP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95747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補足版） コンテンツ全面_レベル_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>
          <a:xfrm>
            <a:off x="410404" y="6457374"/>
            <a:ext cx="726176" cy="270000"/>
          </a:xfrm>
          <a:prstGeom prst="rect">
            <a:avLst/>
          </a:prstGeom>
        </p:spPr>
        <p:txBody>
          <a:bodyPr/>
          <a:lstStyle>
            <a:lvl1pPr>
              <a:defRPr sz="929"/>
            </a:lvl1pPr>
          </a:lstStyle>
          <a:p>
            <a:fld id="{4D9FACC8-259C-46ED-9283-8CCF027B3826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4009" y="136800"/>
            <a:ext cx="9040943" cy="651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マスタ タイトルの書式設定</a:t>
            </a:r>
          </a:p>
        </p:txBody>
      </p:sp>
      <p:sp>
        <p:nvSpPr>
          <p:cNvPr id="8" name="テキスト プレースホルダ 5"/>
          <p:cNvSpPr>
            <a:spLocks noGrp="1"/>
          </p:cNvSpPr>
          <p:nvPr>
            <p:ph type="body" sz="quarter" idx="14"/>
          </p:nvPr>
        </p:nvSpPr>
        <p:spPr bwMode="gray">
          <a:xfrm>
            <a:off x="414001" y="1009580"/>
            <a:ext cx="9039601" cy="439200"/>
          </a:xfrm>
        </p:spPr>
        <p:txBody>
          <a:bodyPr lIns="95843" tIns="0" rIns="95843" bIns="0">
            <a:noAutofit/>
          </a:bodyPr>
          <a:lstStyle>
            <a:lvl1pPr marL="0" indent="0">
              <a:spcBef>
                <a:spcPts val="0"/>
              </a:spcBef>
              <a:defRPr sz="1429"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マスタ テキストの書式設定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1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10" y="1926000"/>
            <a:ext cx="9066014" cy="4370400"/>
          </a:xfrm>
        </p:spPr>
        <p:txBody>
          <a:bodyPr/>
          <a:lstStyle>
            <a:lvl1pPr>
              <a:defRPr baseline="0">
                <a:latin typeface="+mn-lt"/>
                <a:ea typeface="+mn-ea"/>
              </a:defRPr>
            </a:lvl1pPr>
            <a:lvl2pPr>
              <a:lnSpc>
                <a:spcPct val="106000"/>
              </a:lnSpc>
              <a:spcBef>
                <a:spcPts val="1008"/>
              </a:spcBef>
              <a:defRPr baseline="0">
                <a:latin typeface="+mn-lt"/>
                <a:ea typeface="+mn-ea"/>
              </a:defRPr>
            </a:lvl2pPr>
            <a:lvl3pPr>
              <a:lnSpc>
                <a:spcPct val="106000"/>
              </a:lnSpc>
              <a:spcBef>
                <a:spcPts val="459"/>
              </a:spcBef>
              <a:defRPr baseline="0">
                <a:latin typeface="+mn-lt"/>
                <a:ea typeface="+mn-ea"/>
              </a:defRPr>
            </a:lvl3pPr>
            <a:lvl4pPr>
              <a:lnSpc>
                <a:spcPct val="106000"/>
              </a:lnSpc>
              <a:spcBef>
                <a:spcPts val="229"/>
              </a:spcBef>
              <a:defRPr baseline="0">
                <a:latin typeface="+mn-lt"/>
                <a:ea typeface="+mn-ea"/>
              </a:defRPr>
            </a:lvl4pPr>
          </a:lstStyle>
          <a:p>
            <a:pPr lvl="0"/>
            <a:r>
              <a:rPr lang="ja-JP" altLang="en-US" dirty="0"/>
              <a:t>マスタ テキストの書式設定</a:t>
            </a:r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1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7716735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（補足版） コンテンツ全面_レベル_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>
          <a:xfrm>
            <a:off x="410404" y="6457374"/>
            <a:ext cx="726176" cy="270000"/>
          </a:xfrm>
          <a:prstGeom prst="rect">
            <a:avLst/>
          </a:prstGeom>
        </p:spPr>
        <p:txBody>
          <a:bodyPr/>
          <a:lstStyle>
            <a:lvl1pPr>
              <a:defRPr sz="929"/>
            </a:lvl1pPr>
          </a:lstStyle>
          <a:p>
            <a:fld id="{4D9FACC8-259C-46ED-9283-8CCF027B3826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4009" y="136800"/>
            <a:ext cx="9040943" cy="651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マスタ タイトルの書式設定</a:t>
            </a:r>
          </a:p>
        </p:txBody>
      </p:sp>
      <p:sp>
        <p:nvSpPr>
          <p:cNvPr id="8" name="テキスト プレースホルダ 5"/>
          <p:cNvSpPr>
            <a:spLocks noGrp="1"/>
          </p:cNvSpPr>
          <p:nvPr>
            <p:ph type="body" sz="quarter" idx="14"/>
          </p:nvPr>
        </p:nvSpPr>
        <p:spPr bwMode="gray">
          <a:xfrm>
            <a:off x="414001" y="1009580"/>
            <a:ext cx="9039601" cy="439200"/>
          </a:xfrm>
        </p:spPr>
        <p:txBody>
          <a:bodyPr lIns="95843" tIns="0" rIns="95843" bIns="0">
            <a:noAutofit/>
          </a:bodyPr>
          <a:lstStyle>
            <a:lvl1pPr marL="0" indent="0">
              <a:spcBef>
                <a:spcPts val="0"/>
              </a:spcBef>
              <a:defRPr sz="1429"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マスタ テキストの書式設定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1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10" y="1926000"/>
            <a:ext cx="9066014" cy="4370400"/>
          </a:xfrm>
        </p:spPr>
        <p:txBody>
          <a:bodyPr/>
          <a:lstStyle>
            <a:lvl1pPr>
              <a:defRPr baseline="0">
                <a:latin typeface="+mn-lt"/>
                <a:ea typeface="+mn-ea"/>
              </a:defRPr>
            </a:lvl1pPr>
            <a:lvl2pPr>
              <a:lnSpc>
                <a:spcPct val="106000"/>
              </a:lnSpc>
              <a:spcBef>
                <a:spcPts val="1008"/>
              </a:spcBef>
              <a:defRPr baseline="0">
                <a:latin typeface="+mn-lt"/>
                <a:ea typeface="+mn-ea"/>
              </a:defRPr>
            </a:lvl2pPr>
            <a:lvl3pPr>
              <a:lnSpc>
                <a:spcPct val="106000"/>
              </a:lnSpc>
              <a:spcBef>
                <a:spcPts val="459"/>
              </a:spcBef>
              <a:defRPr baseline="0">
                <a:latin typeface="+mn-lt"/>
                <a:ea typeface="+mn-ea"/>
              </a:defRPr>
            </a:lvl3pPr>
            <a:lvl4pPr>
              <a:lnSpc>
                <a:spcPct val="106000"/>
              </a:lnSpc>
              <a:spcBef>
                <a:spcPts val="229"/>
              </a:spcBef>
              <a:defRPr baseline="0">
                <a:latin typeface="+mn-lt"/>
                <a:ea typeface="+mn-ea"/>
              </a:defRPr>
            </a:lvl4pPr>
          </a:lstStyle>
          <a:p>
            <a:pPr lvl="0"/>
            <a:r>
              <a:rPr lang="ja-JP" altLang="en-US" dirty="0"/>
              <a:t>マスタ テキストの書式設定</a:t>
            </a:r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1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1193212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9"/>
          <p:cNvSpPr txBox="1">
            <a:spLocks noChangeArrowheads="1"/>
          </p:cNvSpPr>
          <p:nvPr/>
        </p:nvSpPr>
        <p:spPr bwMode="gray">
          <a:xfrm>
            <a:off x="417513" y="6191250"/>
            <a:ext cx="327501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defRPr/>
            </a:pPr>
            <a:r>
              <a:rPr lang="ja-JP" altLang="ja-JP" sz="140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デロイト トーマツ コンサルティング</a:t>
            </a:r>
            <a:r>
              <a:rPr lang="ja-JP" altLang="en-US" sz="140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合同</a:t>
            </a:r>
            <a:r>
              <a:rPr lang="ja-JP" altLang="ja-JP" sz="140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会社</a:t>
            </a:r>
            <a:endParaRPr lang="en-US" altLang="ja-JP" sz="1400">
              <a:solidFill>
                <a:srgbClr val="000000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pic>
        <p:nvPicPr>
          <p:cNvPr id="8" name="図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15925" y="431800"/>
            <a:ext cx="1873250" cy="588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pPr lvl="0"/>
            <a:r>
              <a:rPr lang="ja-JP" altLang="en-US" noProof="0"/>
              <a:t>図を追加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17600" y="5040000"/>
            <a:ext cx="4536000" cy="615553"/>
          </a:xfrm>
        </p:spPr>
        <p:txBody>
          <a:bodyPr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/>
              <a:t>マスター タイトルの書式設定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/>
              <a:t>マスター サブタイトルの書式設定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l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7010184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266" name="オブジェクト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pPr lvl="0"/>
            <a:r>
              <a:rPr lang="ja-JP" altLang="en-US" noProof="0"/>
              <a:t>図を追加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17600" y="5040000"/>
            <a:ext cx="4536000" cy="615553"/>
          </a:xfrm>
        </p:spPr>
        <p:txBody>
          <a:bodyPr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/>
              <a:t>マスター タイトルの書式設定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/>
              <a:t>マスター サブタイトルの書式設定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l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5629208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2290" name="オブジェクト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rIns="73152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スライド番号プレースホル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77B0819-19BD-4853-A640-382E3246D425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0058395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3314" name="オブジェクト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オブジェクト 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3315" name="オブジェクト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ー 2"/>
          <p:cNvSpPr>
            <a:spLocks noGrp="1"/>
          </p:cNvSpPr>
          <p:nvPr>
            <p:ph type="body" sz="quarter" idx="15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7" name="スライド番号プレースホルダ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EC766AD2-521A-4459-858E-981CCEA5ACC0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2109892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3" name="スライド番号プレースホルダー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D7F4156E-DABE-4B1C-A706-6AE7966A2653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64911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5362" name="オブジェクト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テキスト プレースホルダー 2"/>
          <p:cNvSpPr>
            <a:spLocks noGrp="1"/>
          </p:cNvSpPr>
          <p:nvPr>
            <p:ph type="body" sz="quarter" idx="15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8889D954-34A2-464F-821A-83969187C151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0861893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AC4B3C97-13A7-4996-B7DE-9C7F6B12D4E4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9736785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7410" name="オブジェクト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074DC760-EC00-413A-A4C8-A7712759851B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6735640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3"/>
          <p:cNvSpPr>
            <a:spLocks noChangeShapeType="1"/>
          </p:cNvSpPr>
          <p:nvPr userDrawn="1"/>
        </p:nvSpPr>
        <p:spPr bwMode="auto">
          <a:xfrm>
            <a:off x="4664075" y="4005263"/>
            <a:ext cx="5041900" cy="0"/>
          </a:xfrm>
          <a:prstGeom prst="line">
            <a:avLst/>
          </a:prstGeom>
          <a:noFill/>
          <a:ln w="9525">
            <a:solidFill>
              <a:srgbClr val="00B0F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8839040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8434" name="オブジェクト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7" name="スライド番号プレースホルダ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577F12D5-54DA-419D-AB8B-DE094DBC0173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2403643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7C13D8-C0F4-4AF4-A07E-D2D18B20BBEC}" type="datetimeFigureOut">
              <a:rPr lang="ja-JP" altLang="en-US"/>
              <a:pPr>
                <a:defRPr/>
              </a:pPr>
              <a:t>2018/5/15</a:t>
            </a:fld>
            <a:endParaRPr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4246AB0-E340-492E-A5FD-86C5DA939594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3980368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8C9C93-D28F-48B9-B1A8-47793C6E94AA}" type="datetimeFigureOut">
              <a:rPr lang="ja-JP" altLang="en-US"/>
              <a:pPr>
                <a:defRPr/>
              </a:pPr>
              <a:t>2018/5/15</a:t>
            </a:fld>
            <a:endParaRPr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92BDF4D-19FC-4A85-8415-F8A35F0C8450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7775472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補足版） コンテンツ全面_レベル_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>
          <a:xfrm>
            <a:off x="410404" y="6457374"/>
            <a:ext cx="726176" cy="270000"/>
          </a:xfrm>
          <a:prstGeom prst="rect">
            <a:avLst/>
          </a:prstGeom>
        </p:spPr>
        <p:txBody>
          <a:bodyPr/>
          <a:lstStyle>
            <a:lvl1pPr>
              <a:defRPr sz="929"/>
            </a:lvl1pPr>
          </a:lstStyle>
          <a:p>
            <a:fld id="{4D9FACC8-259C-46ED-9283-8CCF027B3826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4009" y="136800"/>
            <a:ext cx="9040943" cy="651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マスタ タイトルの書式設定</a:t>
            </a:r>
          </a:p>
        </p:txBody>
      </p:sp>
      <p:sp>
        <p:nvSpPr>
          <p:cNvPr id="8" name="テキスト プレースホルダ 5"/>
          <p:cNvSpPr>
            <a:spLocks noGrp="1"/>
          </p:cNvSpPr>
          <p:nvPr>
            <p:ph type="body" sz="quarter" idx="14"/>
          </p:nvPr>
        </p:nvSpPr>
        <p:spPr bwMode="gray">
          <a:xfrm>
            <a:off x="414001" y="1009580"/>
            <a:ext cx="9039601" cy="439200"/>
          </a:xfrm>
        </p:spPr>
        <p:txBody>
          <a:bodyPr lIns="95843" tIns="0" rIns="95843" bIns="0">
            <a:noAutofit/>
          </a:bodyPr>
          <a:lstStyle>
            <a:lvl1pPr marL="0" indent="0">
              <a:spcBef>
                <a:spcPts val="0"/>
              </a:spcBef>
              <a:defRPr sz="1429"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マスタ テキストの書式設定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1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10" y="1926000"/>
            <a:ext cx="9066014" cy="4370400"/>
          </a:xfrm>
        </p:spPr>
        <p:txBody>
          <a:bodyPr/>
          <a:lstStyle>
            <a:lvl1pPr>
              <a:defRPr baseline="0">
                <a:latin typeface="+mn-lt"/>
                <a:ea typeface="+mn-ea"/>
              </a:defRPr>
            </a:lvl1pPr>
            <a:lvl2pPr>
              <a:lnSpc>
                <a:spcPct val="106000"/>
              </a:lnSpc>
              <a:spcBef>
                <a:spcPts val="1008"/>
              </a:spcBef>
              <a:defRPr baseline="0">
                <a:latin typeface="+mn-lt"/>
                <a:ea typeface="+mn-ea"/>
              </a:defRPr>
            </a:lvl2pPr>
            <a:lvl3pPr>
              <a:lnSpc>
                <a:spcPct val="106000"/>
              </a:lnSpc>
              <a:spcBef>
                <a:spcPts val="459"/>
              </a:spcBef>
              <a:defRPr baseline="0">
                <a:latin typeface="+mn-lt"/>
                <a:ea typeface="+mn-ea"/>
              </a:defRPr>
            </a:lvl3pPr>
            <a:lvl4pPr>
              <a:lnSpc>
                <a:spcPct val="106000"/>
              </a:lnSpc>
              <a:spcBef>
                <a:spcPts val="229"/>
              </a:spcBef>
              <a:defRPr baseline="0">
                <a:latin typeface="+mn-lt"/>
                <a:ea typeface="+mn-ea"/>
              </a:defRPr>
            </a:lvl4pPr>
          </a:lstStyle>
          <a:p>
            <a:pPr lvl="0"/>
            <a:r>
              <a:rPr lang="ja-JP" altLang="en-US" dirty="0"/>
              <a:t>マスタ テキストの書式設定</a:t>
            </a:r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1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5617515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742967" y="2130784"/>
            <a:ext cx="8420100" cy="1470025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485905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22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en-US" altLang="ja-JP"/>
              <a:t>2018</a:t>
            </a:r>
            <a:r>
              <a:rPr lang="ja-JP" altLang="en-US"/>
              <a:t>年</a:t>
            </a:r>
            <a:r>
              <a:rPr lang="en-US" altLang="ja-JP"/>
              <a:t>1</a:t>
            </a:r>
            <a:r>
              <a:rPr lang="ja-JP" altLang="en-US"/>
              <a:t>月</a:t>
            </a:r>
            <a:r>
              <a:rPr lang="en-US" altLang="ja-JP"/>
              <a:t>10</a:t>
            </a:r>
            <a:r>
              <a:rPr lang="ja-JP" altLang="en-US"/>
              <a:t>日 第一回</a:t>
            </a:r>
            <a:r>
              <a:rPr lang="en-US" altLang="ja-JP"/>
              <a:t>ESG</a:t>
            </a:r>
            <a:r>
              <a:rPr lang="ja-JP" altLang="en-US"/>
              <a:t>金融懇談会末吉様提出資料より</a:t>
            </a: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ja-JP" altLang="en-US"/>
              <a:t>カーボン・ディスラプションに備えよ</a:t>
            </a:r>
          </a:p>
        </p:txBody>
      </p:sp>
    </p:spTree>
    <p:extLst>
      <p:ext uri="{BB962C8B-B14F-4D97-AF65-F5344CB8AC3E}">
        <p14:creationId xmlns:p14="http://schemas.microsoft.com/office/powerpoint/2010/main" val="18368247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en-US" altLang="ja-JP"/>
              <a:t>2018</a:t>
            </a:r>
            <a:r>
              <a:rPr lang="ja-JP" altLang="en-US"/>
              <a:t>年</a:t>
            </a:r>
            <a:r>
              <a:rPr lang="en-US" altLang="ja-JP"/>
              <a:t>1</a:t>
            </a:r>
            <a:r>
              <a:rPr lang="ja-JP" altLang="en-US"/>
              <a:t>月</a:t>
            </a:r>
            <a:r>
              <a:rPr lang="en-US" altLang="ja-JP"/>
              <a:t>10</a:t>
            </a:r>
            <a:r>
              <a:rPr lang="ja-JP" altLang="en-US"/>
              <a:t>日 第一回</a:t>
            </a:r>
            <a:r>
              <a:rPr lang="en-US" altLang="ja-JP"/>
              <a:t>ESG</a:t>
            </a:r>
            <a:r>
              <a:rPr lang="ja-JP" altLang="en-US"/>
              <a:t>金融懇談会末吉様提出資料より</a:t>
            </a: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ja-JP" altLang="en-US"/>
              <a:t>カーボン・ディスラプションに備えよ</a:t>
            </a:r>
          </a:p>
        </p:txBody>
      </p:sp>
    </p:spTree>
    <p:extLst>
      <p:ext uri="{BB962C8B-B14F-4D97-AF65-F5344CB8AC3E}">
        <p14:creationId xmlns:p14="http://schemas.microsoft.com/office/powerpoint/2010/main" val="12931494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43" y="4407263"/>
            <a:ext cx="8420100" cy="1362075"/>
          </a:xfrm>
        </p:spPr>
        <p:txBody>
          <a:bodyPr anchor="t"/>
          <a:lstStyle>
            <a:lvl1pPr algn="l">
              <a:defRPr sz="3693" b="1" cap="all"/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782643" y="2906722"/>
            <a:ext cx="8420100" cy="1500187"/>
          </a:xfrm>
        </p:spPr>
        <p:txBody>
          <a:bodyPr anchor="b"/>
          <a:lstStyle>
            <a:lvl1pPr marL="0" indent="0">
              <a:buNone/>
              <a:defRPr sz="1846">
                <a:solidFill>
                  <a:schemeClr val="tx1">
                    <a:tint val="75000"/>
                  </a:schemeClr>
                </a:solidFill>
              </a:defRPr>
            </a:lvl1pPr>
            <a:lvl2pPr marL="422052" indent="0">
              <a:buNone/>
              <a:defRPr sz="1661">
                <a:solidFill>
                  <a:schemeClr val="tx1">
                    <a:tint val="75000"/>
                  </a:schemeClr>
                </a:solidFill>
              </a:defRPr>
            </a:lvl2pPr>
            <a:lvl3pPr marL="844104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3pPr>
            <a:lvl4pPr marL="1266156" indent="0">
              <a:buNone/>
              <a:defRPr sz="1293">
                <a:solidFill>
                  <a:schemeClr val="tx1">
                    <a:tint val="75000"/>
                  </a:schemeClr>
                </a:solidFill>
              </a:defRPr>
            </a:lvl4pPr>
            <a:lvl5pPr marL="1688207" indent="0">
              <a:buNone/>
              <a:defRPr sz="1293">
                <a:solidFill>
                  <a:schemeClr val="tx1">
                    <a:tint val="75000"/>
                  </a:schemeClr>
                </a:solidFill>
              </a:defRPr>
            </a:lvl5pPr>
            <a:lvl6pPr marL="2110259" indent="0">
              <a:buNone/>
              <a:defRPr sz="1293">
                <a:solidFill>
                  <a:schemeClr val="tx1">
                    <a:tint val="75000"/>
                  </a:schemeClr>
                </a:solidFill>
              </a:defRPr>
            </a:lvl6pPr>
            <a:lvl7pPr marL="2532311" indent="0">
              <a:buNone/>
              <a:defRPr sz="1293">
                <a:solidFill>
                  <a:schemeClr val="tx1">
                    <a:tint val="75000"/>
                  </a:schemeClr>
                </a:solidFill>
              </a:defRPr>
            </a:lvl7pPr>
            <a:lvl8pPr marL="2954363" indent="0">
              <a:buNone/>
              <a:defRPr sz="1293">
                <a:solidFill>
                  <a:schemeClr val="tx1">
                    <a:tint val="75000"/>
                  </a:schemeClr>
                </a:solidFill>
              </a:defRPr>
            </a:lvl8pPr>
            <a:lvl9pPr marL="3376415" indent="0">
              <a:buNone/>
              <a:defRPr sz="129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en-US" altLang="ja-JP"/>
              <a:t>2018</a:t>
            </a:r>
            <a:r>
              <a:rPr lang="ja-JP" altLang="en-US"/>
              <a:t>年</a:t>
            </a:r>
            <a:r>
              <a:rPr lang="en-US" altLang="ja-JP"/>
              <a:t>1</a:t>
            </a:r>
            <a:r>
              <a:rPr lang="ja-JP" altLang="en-US"/>
              <a:t>月</a:t>
            </a:r>
            <a:r>
              <a:rPr lang="en-US" altLang="ja-JP"/>
              <a:t>10</a:t>
            </a:r>
            <a:r>
              <a:rPr lang="ja-JP" altLang="en-US"/>
              <a:t>日 第一回</a:t>
            </a:r>
            <a:r>
              <a:rPr lang="en-US" altLang="ja-JP"/>
              <a:t>ESG</a:t>
            </a:r>
            <a:r>
              <a:rPr lang="ja-JP" altLang="en-US"/>
              <a:t>金融懇談会末吉様提出資料より</a:t>
            </a: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ja-JP" altLang="en-US"/>
              <a:t>カーボン・ディスラプションに備えよ</a:t>
            </a:r>
          </a:p>
        </p:txBody>
      </p:sp>
    </p:spTree>
    <p:extLst>
      <p:ext uri="{BB962C8B-B14F-4D97-AF65-F5344CB8AC3E}">
        <p14:creationId xmlns:p14="http://schemas.microsoft.com/office/powerpoint/2010/main" val="42173204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495326" y="1600216"/>
            <a:ext cx="4381502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1"/>
            </a:lvl4pPr>
            <a:lvl5pPr>
              <a:defRPr sz="1661"/>
            </a:lvl5pPr>
            <a:lvl6pPr>
              <a:defRPr sz="1661"/>
            </a:lvl6pPr>
            <a:lvl7pPr>
              <a:defRPr sz="1661"/>
            </a:lvl7pPr>
            <a:lvl8pPr>
              <a:defRPr sz="1661"/>
            </a:lvl8pPr>
            <a:lvl9pPr>
              <a:defRPr sz="1661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5029231" y="1600216"/>
            <a:ext cx="4381502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1"/>
            </a:lvl4pPr>
            <a:lvl5pPr>
              <a:defRPr sz="1661"/>
            </a:lvl5pPr>
            <a:lvl6pPr>
              <a:defRPr sz="1661"/>
            </a:lvl6pPr>
            <a:lvl7pPr>
              <a:defRPr sz="1661"/>
            </a:lvl7pPr>
            <a:lvl8pPr>
              <a:defRPr sz="1661"/>
            </a:lvl8pPr>
            <a:lvl9pPr>
              <a:defRPr sz="1661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en-US" altLang="ja-JP"/>
              <a:t>2018</a:t>
            </a:r>
            <a:r>
              <a:rPr lang="ja-JP" altLang="en-US"/>
              <a:t>年</a:t>
            </a:r>
            <a:r>
              <a:rPr lang="en-US" altLang="ja-JP"/>
              <a:t>1</a:t>
            </a:r>
            <a:r>
              <a:rPr lang="ja-JP" altLang="en-US"/>
              <a:t>月</a:t>
            </a:r>
            <a:r>
              <a:rPr lang="en-US" altLang="ja-JP"/>
              <a:t>10</a:t>
            </a:r>
            <a:r>
              <a:rPr lang="ja-JP" altLang="en-US"/>
              <a:t>日 第一回</a:t>
            </a:r>
            <a:r>
              <a:rPr lang="en-US" altLang="ja-JP"/>
              <a:t>ESG</a:t>
            </a:r>
            <a:r>
              <a:rPr lang="ja-JP" altLang="en-US"/>
              <a:t>金融懇談会末吉様提出資料より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ja-JP" altLang="en-US"/>
              <a:t>カーボン・ディスラプションに備えよ</a:t>
            </a:r>
          </a:p>
        </p:txBody>
      </p:sp>
    </p:spTree>
    <p:extLst>
      <p:ext uri="{BB962C8B-B14F-4D97-AF65-F5344CB8AC3E}">
        <p14:creationId xmlns:p14="http://schemas.microsoft.com/office/powerpoint/2010/main" val="27010788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95309" y="1535113"/>
            <a:ext cx="4376738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52" indent="0">
              <a:buNone/>
              <a:defRPr sz="1846" b="1"/>
            </a:lvl2pPr>
            <a:lvl3pPr marL="844104" indent="0">
              <a:buNone/>
              <a:defRPr sz="1661" b="1"/>
            </a:lvl3pPr>
            <a:lvl4pPr marL="1266156" indent="0">
              <a:buNone/>
              <a:defRPr sz="1477" b="1"/>
            </a:lvl4pPr>
            <a:lvl5pPr marL="1688207" indent="0">
              <a:buNone/>
              <a:defRPr sz="1477" b="1"/>
            </a:lvl5pPr>
            <a:lvl6pPr marL="2110259" indent="0">
              <a:buNone/>
              <a:defRPr sz="1477" b="1"/>
            </a:lvl6pPr>
            <a:lvl7pPr marL="2532311" indent="0">
              <a:buNone/>
              <a:defRPr sz="1477" b="1"/>
            </a:lvl7pPr>
            <a:lvl8pPr marL="2954363" indent="0">
              <a:buNone/>
              <a:defRPr sz="1477" b="1"/>
            </a:lvl8pPr>
            <a:lvl9pPr marL="3376415" indent="0">
              <a:buNone/>
              <a:defRPr sz="1477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95309" y="2174875"/>
            <a:ext cx="4376738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1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5032490" y="1535113"/>
            <a:ext cx="4378325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52" indent="0">
              <a:buNone/>
              <a:defRPr sz="1846" b="1"/>
            </a:lvl2pPr>
            <a:lvl3pPr marL="844104" indent="0">
              <a:buNone/>
              <a:defRPr sz="1661" b="1"/>
            </a:lvl3pPr>
            <a:lvl4pPr marL="1266156" indent="0">
              <a:buNone/>
              <a:defRPr sz="1477" b="1"/>
            </a:lvl4pPr>
            <a:lvl5pPr marL="1688207" indent="0">
              <a:buNone/>
              <a:defRPr sz="1477" b="1"/>
            </a:lvl5pPr>
            <a:lvl6pPr marL="2110259" indent="0">
              <a:buNone/>
              <a:defRPr sz="1477" b="1"/>
            </a:lvl6pPr>
            <a:lvl7pPr marL="2532311" indent="0">
              <a:buNone/>
              <a:defRPr sz="1477" b="1"/>
            </a:lvl7pPr>
            <a:lvl8pPr marL="2954363" indent="0">
              <a:buNone/>
              <a:defRPr sz="1477" b="1"/>
            </a:lvl8pPr>
            <a:lvl9pPr marL="3376415" indent="0">
              <a:buNone/>
              <a:defRPr sz="1477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5032490" y="2174875"/>
            <a:ext cx="4378325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1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en-US" altLang="ja-JP"/>
              <a:t>2018</a:t>
            </a:r>
            <a:r>
              <a:rPr lang="ja-JP" altLang="en-US"/>
              <a:t>年</a:t>
            </a:r>
            <a:r>
              <a:rPr lang="en-US" altLang="ja-JP"/>
              <a:t>1</a:t>
            </a:r>
            <a:r>
              <a:rPr lang="ja-JP" altLang="en-US"/>
              <a:t>月</a:t>
            </a:r>
            <a:r>
              <a:rPr lang="en-US" altLang="ja-JP"/>
              <a:t>10</a:t>
            </a:r>
            <a:r>
              <a:rPr lang="ja-JP" altLang="en-US"/>
              <a:t>日 第一回</a:t>
            </a:r>
            <a:r>
              <a:rPr lang="en-US" altLang="ja-JP"/>
              <a:t>ESG</a:t>
            </a:r>
            <a:r>
              <a:rPr lang="ja-JP" altLang="en-US"/>
              <a:t>金融懇談会末吉様提出資料より</a:t>
            </a:r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ja-JP" altLang="en-US"/>
              <a:t>カーボン・ディスラプションに備えよ</a:t>
            </a:r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>
          <a:xfrm>
            <a:off x="7099314" y="6356708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7E4E3B4-BA0D-4156-B800-71821351DB7E}" type="slidenum">
              <a:rPr sz="1661"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sz="1661"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595217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en-US" altLang="ja-JP"/>
              <a:t>2018</a:t>
            </a:r>
            <a:r>
              <a:rPr lang="ja-JP" altLang="en-US"/>
              <a:t>年</a:t>
            </a:r>
            <a:r>
              <a:rPr lang="en-US" altLang="ja-JP"/>
              <a:t>1</a:t>
            </a:r>
            <a:r>
              <a:rPr lang="ja-JP" altLang="en-US"/>
              <a:t>月</a:t>
            </a:r>
            <a:r>
              <a:rPr lang="en-US" altLang="ja-JP"/>
              <a:t>10</a:t>
            </a:r>
            <a:r>
              <a:rPr lang="ja-JP" altLang="en-US"/>
              <a:t>日 第一回</a:t>
            </a:r>
            <a:r>
              <a:rPr lang="en-US" altLang="ja-JP"/>
              <a:t>ESG</a:t>
            </a:r>
            <a:r>
              <a:rPr lang="ja-JP" altLang="en-US"/>
              <a:t>金融懇談会末吉様提出資料より</a:t>
            </a: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ja-JP" altLang="en-US"/>
              <a:t>カーボン・ディスラプションに備えよ</a:t>
            </a:r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7099314" y="6356708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15E5F09-35C8-4A21-81C0-D2EEDE0F015E}" type="slidenum">
              <a:rPr sz="1661"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sz="1661"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75820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はじめに・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7" name="テキスト プレースホルダー 4"/>
          <p:cNvSpPr>
            <a:spLocks noGrp="1"/>
          </p:cNvSpPr>
          <p:nvPr>
            <p:ph type="body" sz="quarter" idx="11"/>
          </p:nvPr>
        </p:nvSpPr>
        <p:spPr>
          <a:xfrm>
            <a:off x="128594" y="765178"/>
            <a:ext cx="9648825" cy="1007641"/>
          </a:xfrm>
          <a:prstGeom prst="roundRect">
            <a:avLst/>
          </a:prstGeom>
          <a:solidFill>
            <a:srgbClr val="CCECFF"/>
          </a:solidFill>
          <a:ln w="28575">
            <a:solidFill>
              <a:srgbClr val="00B0F0"/>
            </a:solidFill>
          </a:ln>
        </p:spPr>
        <p:txBody>
          <a:bodyPr/>
          <a:lstStyle>
            <a:lvl1pPr marL="342900" indent="-342900">
              <a:buFont typeface="Wingdings" panose="05000000000000000000" pitchFamily="2" charset="2"/>
              <a:buChar char="n"/>
              <a:defRPr sz="200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>
                <a:latin typeface="Segoe UI" panose="020B0502040204020203" pitchFamily="34" charset="0"/>
                <a:ea typeface="メイリオ" panose="020B0604030504040204" pitchFamily="50" charset="-128"/>
                <a:cs typeface="Segoe UI" panose="020B0502040204020203" pitchFamily="34" charset="0"/>
              </a:defRPr>
            </a:lvl2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</p:txBody>
      </p:sp>
      <p:sp>
        <p:nvSpPr>
          <p:cNvPr id="4" name="ページ番号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004300" y="6308725"/>
            <a:ext cx="917575" cy="54927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rgbClr val="000000"/>
                </a:solidFill>
                <a:latin typeface="Segoe UI" panose="020B0502040204020203" pitchFamily="34" charset="0"/>
              </a:defRPr>
            </a:lvl1pPr>
          </a:lstStyle>
          <a:p>
            <a:fld id="{B09E4ECD-3BBF-4C80-94E1-5DA50CB70DC9}" type="slidenum">
              <a:rPr lang="en-US" altLang="ja-JP"/>
              <a:pPr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40539315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en-US" altLang="ja-JP"/>
              <a:t>2018</a:t>
            </a:r>
            <a:r>
              <a:rPr lang="ja-JP" altLang="en-US"/>
              <a:t>年</a:t>
            </a:r>
            <a:r>
              <a:rPr lang="en-US" altLang="ja-JP"/>
              <a:t>1</a:t>
            </a:r>
            <a:r>
              <a:rPr lang="ja-JP" altLang="en-US"/>
              <a:t>月</a:t>
            </a:r>
            <a:r>
              <a:rPr lang="en-US" altLang="ja-JP"/>
              <a:t>10</a:t>
            </a:r>
            <a:r>
              <a:rPr lang="ja-JP" altLang="en-US"/>
              <a:t>日 第一回</a:t>
            </a:r>
            <a:r>
              <a:rPr lang="en-US" altLang="ja-JP"/>
              <a:t>ESG</a:t>
            </a:r>
            <a:r>
              <a:rPr lang="ja-JP" altLang="en-US"/>
              <a:t>金融懇談会末吉様提出資料より</a:t>
            </a:r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ja-JP" altLang="en-US"/>
              <a:t>カーボン・ディスラプションに備えよ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>
          <a:xfrm>
            <a:off x="7099314" y="6356708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475755F-D21C-48E1-9FAB-6237DBE750FC}" type="slidenum">
              <a:rPr sz="1661"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sz="1661"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70768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12" y="273054"/>
            <a:ext cx="3259138" cy="1162050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73520" y="273169"/>
            <a:ext cx="5537201" cy="5853113"/>
          </a:xfr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495312" y="1435113"/>
            <a:ext cx="3259138" cy="4691063"/>
          </a:xfrm>
        </p:spPr>
        <p:txBody>
          <a:bodyPr/>
          <a:lstStyle>
            <a:lvl1pPr marL="0" indent="0">
              <a:buNone/>
              <a:defRPr sz="1293"/>
            </a:lvl1pPr>
            <a:lvl2pPr marL="422052" indent="0">
              <a:buNone/>
              <a:defRPr sz="1108"/>
            </a:lvl2pPr>
            <a:lvl3pPr marL="844104" indent="0">
              <a:buNone/>
              <a:defRPr sz="923"/>
            </a:lvl3pPr>
            <a:lvl4pPr marL="1266156" indent="0">
              <a:buNone/>
              <a:defRPr sz="831"/>
            </a:lvl4pPr>
            <a:lvl5pPr marL="1688207" indent="0">
              <a:buNone/>
              <a:defRPr sz="831"/>
            </a:lvl5pPr>
            <a:lvl6pPr marL="2110259" indent="0">
              <a:buNone/>
              <a:defRPr sz="831"/>
            </a:lvl6pPr>
            <a:lvl7pPr marL="2532311" indent="0">
              <a:buNone/>
              <a:defRPr sz="831"/>
            </a:lvl7pPr>
            <a:lvl8pPr marL="2954363" indent="0">
              <a:buNone/>
              <a:defRPr sz="831"/>
            </a:lvl8pPr>
            <a:lvl9pPr marL="3376415" indent="0">
              <a:buNone/>
              <a:defRPr sz="83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en-US" altLang="ja-JP"/>
              <a:t>2018</a:t>
            </a:r>
            <a:r>
              <a:rPr lang="ja-JP" altLang="en-US"/>
              <a:t>年</a:t>
            </a:r>
            <a:r>
              <a:rPr lang="en-US" altLang="ja-JP"/>
              <a:t>1</a:t>
            </a:r>
            <a:r>
              <a:rPr lang="ja-JP" altLang="en-US"/>
              <a:t>月</a:t>
            </a:r>
            <a:r>
              <a:rPr lang="en-US" altLang="ja-JP"/>
              <a:t>10</a:t>
            </a:r>
            <a:r>
              <a:rPr lang="ja-JP" altLang="en-US"/>
              <a:t>日 第一回</a:t>
            </a:r>
            <a:r>
              <a:rPr lang="en-US" altLang="ja-JP"/>
              <a:t>ESG</a:t>
            </a:r>
            <a:r>
              <a:rPr lang="ja-JP" altLang="en-US"/>
              <a:t>金融懇談会末吉様提出資料より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ja-JP" altLang="en-US"/>
              <a:t>カーボン・ディスラプションに備えよ</a:t>
            </a:r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>
          <a:xfrm>
            <a:off x="7099314" y="6356708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F7BEB08-872F-4405-92C2-D809500200B3}" type="slidenum">
              <a:rPr sz="1661"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sz="1661"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387414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36" y="4800604"/>
            <a:ext cx="5943600" cy="566738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1941536" y="612779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2954"/>
            </a:lvl1pPr>
            <a:lvl2pPr marL="422052" indent="0">
              <a:buNone/>
              <a:defRPr sz="2585"/>
            </a:lvl2pPr>
            <a:lvl3pPr marL="844104" indent="0">
              <a:buNone/>
              <a:defRPr sz="2215"/>
            </a:lvl3pPr>
            <a:lvl4pPr marL="1266156" indent="0">
              <a:buNone/>
              <a:defRPr sz="1846"/>
            </a:lvl4pPr>
            <a:lvl5pPr marL="1688207" indent="0">
              <a:buNone/>
              <a:defRPr sz="1846"/>
            </a:lvl5pPr>
            <a:lvl6pPr marL="2110259" indent="0">
              <a:buNone/>
              <a:defRPr sz="1846"/>
            </a:lvl6pPr>
            <a:lvl7pPr marL="2532311" indent="0">
              <a:buNone/>
              <a:defRPr sz="1846"/>
            </a:lvl7pPr>
            <a:lvl8pPr marL="2954363" indent="0">
              <a:buNone/>
              <a:defRPr sz="1846"/>
            </a:lvl8pPr>
            <a:lvl9pPr marL="3376415" indent="0">
              <a:buNone/>
              <a:defRPr sz="1846"/>
            </a:lvl9pPr>
          </a:lstStyle>
          <a:p>
            <a:pPr lvl="0"/>
            <a:endParaRPr lang="ja-JP" altLang="en-US" noProof="0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1941536" y="5367338"/>
            <a:ext cx="5943600" cy="804862"/>
          </a:xfrm>
        </p:spPr>
        <p:txBody>
          <a:bodyPr/>
          <a:lstStyle>
            <a:lvl1pPr marL="0" indent="0">
              <a:buNone/>
              <a:defRPr sz="1293"/>
            </a:lvl1pPr>
            <a:lvl2pPr marL="422052" indent="0">
              <a:buNone/>
              <a:defRPr sz="1108"/>
            </a:lvl2pPr>
            <a:lvl3pPr marL="844104" indent="0">
              <a:buNone/>
              <a:defRPr sz="923"/>
            </a:lvl3pPr>
            <a:lvl4pPr marL="1266156" indent="0">
              <a:buNone/>
              <a:defRPr sz="831"/>
            </a:lvl4pPr>
            <a:lvl5pPr marL="1688207" indent="0">
              <a:buNone/>
              <a:defRPr sz="831"/>
            </a:lvl5pPr>
            <a:lvl6pPr marL="2110259" indent="0">
              <a:buNone/>
              <a:defRPr sz="831"/>
            </a:lvl6pPr>
            <a:lvl7pPr marL="2532311" indent="0">
              <a:buNone/>
              <a:defRPr sz="831"/>
            </a:lvl7pPr>
            <a:lvl8pPr marL="2954363" indent="0">
              <a:buNone/>
              <a:defRPr sz="831"/>
            </a:lvl8pPr>
            <a:lvl9pPr marL="3376415" indent="0">
              <a:buNone/>
              <a:defRPr sz="83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en-US" altLang="ja-JP"/>
              <a:t>2018</a:t>
            </a:r>
            <a:r>
              <a:rPr lang="ja-JP" altLang="en-US"/>
              <a:t>年</a:t>
            </a:r>
            <a:r>
              <a:rPr lang="en-US" altLang="ja-JP"/>
              <a:t>1</a:t>
            </a:r>
            <a:r>
              <a:rPr lang="ja-JP" altLang="en-US"/>
              <a:t>月</a:t>
            </a:r>
            <a:r>
              <a:rPr lang="en-US" altLang="ja-JP"/>
              <a:t>10</a:t>
            </a:r>
            <a:r>
              <a:rPr lang="ja-JP" altLang="en-US"/>
              <a:t>日 第一回</a:t>
            </a:r>
            <a:r>
              <a:rPr lang="en-US" altLang="ja-JP"/>
              <a:t>ESG</a:t>
            </a:r>
            <a:r>
              <a:rPr lang="ja-JP" altLang="en-US"/>
              <a:t>金融懇談会末吉様提出資料より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ja-JP" altLang="en-US"/>
              <a:t>カーボン・ディスラプションに備えよ</a:t>
            </a:r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>
          <a:xfrm>
            <a:off x="7099314" y="6356708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5105AD3-80B6-4994-82BC-5196BCEA5D7E}" type="slidenum">
              <a:rPr sz="1661"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sz="1661"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958572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en-US" altLang="ja-JP"/>
              <a:t>2018</a:t>
            </a:r>
            <a:r>
              <a:rPr lang="ja-JP" altLang="en-US"/>
              <a:t>年</a:t>
            </a:r>
            <a:r>
              <a:rPr lang="en-US" altLang="ja-JP"/>
              <a:t>1</a:t>
            </a:r>
            <a:r>
              <a:rPr lang="ja-JP" altLang="en-US"/>
              <a:t>月</a:t>
            </a:r>
            <a:r>
              <a:rPr lang="en-US" altLang="ja-JP"/>
              <a:t>10</a:t>
            </a:r>
            <a:r>
              <a:rPr lang="ja-JP" altLang="en-US"/>
              <a:t>日 第一回</a:t>
            </a:r>
            <a:r>
              <a:rPr lang="en-US" altLang="ja-JP"/>
              <a:t>ESG</a:t>
            </a:r>
            <a:r>
              <a:rPr lang="ja-JP" altLang="en-US"/>
              <a:t>金融懇談会末吉様提出資料より</a:t>
            </a: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ja-JP" altLang="en-US"/>
              <a:t>カーボン・ディスラプションに備えよ</a:t>
            </a: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7099314" y="6356708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BB2DECB-1C63-48A9-A586-432943B8BEEF}" type="slidenum">
              <a:rPr sz="1661"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sz="1661"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077448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181850" y="274755"/>
            <a:ext cx="2228850" cy="5851525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495327" y="274755"/>
            <a:ext cx="6534150" cy="5851525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en-US" altLang="ja-JP"/>
              <a:t>2018</a:t>
            </a:r>
            <a:r>
              <a:rPr lang="ja-JP" altLang="en-US"/>
              <a:t>年</a:t>
            </a:r>
            <a:r>
              <a:rPr lang="en-US" altLang="ja-JP"/>
              <a:t>1</a:t>
            </a:r>
            <a:r>
              <a:rPr lang="ja-JP" altLang="en-US"/>
              <a:t>月</a:t>
            </a:r>
            <a:r>
              <a:rPr lang="en-US" altLang="ja-JP"/>
              <a:t>10</a:t>
            </a:r>
            <a:r>
              <a:rPr lang="ja-JP" altLang="en-US"/>
              <a:t>日 第一回</a:t>
            </a:r>
            <a:r>
              <a:rPr lang="en-US" altLang="ja-JP"/>
              <a:t>ESG</a:t>
            </a:r>
            <a:r>
              <a:rPr lang="ja-JP" altLang="en-US"/>
              <a:t>金融懇談会末吉様提出資料より</a:t>
            </a:r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ja-JP" altLang="en-US"/>
              <a:t>カーボン・ディスラプションに備えよ</a:t>
            </a: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7099314" y="6356708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0646E74-72AE-4060-8664-060849739B6F}" type="slidenum">
              <a:rPr sz="1661"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sz="1661"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458882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正方形/長方形 2"/>
          <p:cNvSpPr/>
          <p:nvPr userDrawn="1"/>
        </p:nvSpPr>
        <p:spPr>
          <a:xfrm>
            <a:off x="17" y="115"/>
            <a:ext cx="9906000" cy="333375"/>
          </a:xfrm>
          <a:prstGeom prst="rect">
            <a:avLst/>
          </a:prstGeom>
          <a:solidFill>
            <a:srgbClr val="00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sz="1661">
              <a:solidFill>
                <a:prstClr val="white"/>
              </a:solidFill>
              <a:ea typeface="ＭＳ Ｐゴシック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13" y="265802"/>
            <a:ext cx="8915400" cy="642918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ja-JP" altLang="en-US" dirty="0"/>
              <a:t>マスタ タイトルの書式設定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r>
              <a:rPr lang="en-US" altLang="ja-JP"/>
              <a:t>2018</a:t>
            </a:r>
            <a:r>
              <a:rPr lang="ja-JP" altLang="en-US"/>
              <a:t>年</a:t>
            </a:r>
            <a:r>
              <a:rPr lang="en-US" altLang="ja-JP"/>
              <a:t>1</a:t>
            </a:r>
            <a:r>
              <a:rPr lang="ja-JP" altLang="en-US"/>
              <a:t>月</a:t>
            </a:r>
            <a:r>
              <a:rPr lang="en-US" altLang="ja-JP"/>
              <a:t>10</a:t>
            </a:r>
            <a:r>
              <a:rPr lang="ja-JP" altLang="en-US"/>
              <a:t>日 第一回</a:t>
            </a:r>
            <a:r>
              <a:rPr lang="en-US" altLang="ja-JP"/>
              <a:t>ESG</a:t>
            </a:r>
            <a:r>
              <a:rPr lang="ja-JP" altLang="en-US"/>
              <a:t>金融懇談会末吉様提出資料より</a:t>
            </a: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r>
              <a:rPr lang="ja-JP" altLang="en-US"/>
              <a:t>カーボン・ディスラプションに備えよ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>
          <a:xfrm>
            <a:off x="7099314" y="635670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DEC5EFF2-FADB-4BEE-A431-1173ED4A7470}" type="slidenum">
              <a:rPr sz="1661">
                <a:solidFill>
                  <a:prstClr val="black"/>
                </a:solidFill>
                <a:ea typeface="ＭＳ Ｐゴシック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sz="1661">
              <a:solidFill>
                <a:prstClr val="black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245608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85749" y="5"/>
            <a:ext cx="8420100" cy="493058"/>
          </a:xfr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099314" y="635670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C810845D-A875-432F-9227-C69B48E58F3E}" type="slidenum">
              <a:rPr lang="en-US" altLang="ja-JP" sz="1661">
                <a:solidFill>
                  <a:prstClr val="black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sz="1661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96864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ja-JP">
                <a:solidFill>
                  <a:prstClr val="black">
                    <a:tint val="75000"/>
                  </a:prstClr>
                </a:solidFill>
              </a:rPr>
              <a:t>2018</a:t>
            </a:r>
            <a:r>
              <a:rPr lang="ja-JP" altLang="en-US">
                <a:solidFill>
                  <a:prstClr val="black">
                    <a:tint val="75000"/>
                  </a:prstClr>
                </a:solidFill>
              </a:rPr>
              <a:t>年</a:t>
            </a:r>
            <a:r>
              <a:rPr lang="en-US" altLang="ja-JP">
                <a:solidFill>
                  <a:prstClr val="black">
                    <a:tint val="75000"/>
                  </a:prstClr>
                </a:solidFill>
              </a:rPr>
              <a:t>1</a:t>
            </a:r>
            <a:r>
              <a:rPr lang="ja-JP" altLang="en-US">
                <a:solidFill>
                  <a:prstClr val="black">
                    <a:tint val="75000"/>
                  </a:prstClr>
                </a:solidFill>
              </a:rPr>
              <a:t>月</a:t>
            </a:r>
            <a:r>
              <a:rPr lang="en-US" altLang="ja-JP">
                <a:solidFill>
                  <a:prstClr val="black">
                    <a:tint val="75000"/>
                  </a:prstClr>
                </a:solidFill>
              </a:rPr>
              <a:t>10</a:t>
            </a:r>
            <a:r>
              <a:rPr lang="ja-JP" altLang="en-US">
                <a:solidFill>
                  <a:prstClr val="black">
                    <a:tint val="75000"/>
                  </a:prstClr>
                </a:solidFill>
              </a:rPr>
              <a:t>日 第一回</a:t>
            </a:r>
            <a:r>
              <a:rPr lang="en-US" altLang="ja-JP">
                <a:solidFill>
                  <a:prstClr val="black">
                    <a:tint val="75000"/>
                  </a:prstClr>
                </a:solidFill>
              </a:rPr>
              <a:t>ESG</a:t>
            </a:r>
            <a:r>
              <a:rPr lang="ja-JP" altLang="en-US">
                <a:solidFill>
                  <a:prstClr val="black">
                    <a:tint val="75000"/>
                  </a:prstClr>
                </a:solidFill>
              </a:rPr>
              <a:t>金融懇談会末吉様提出資料より</a:t>
            </a:r>
            <a:endParaRPr lang="en-US" altLang="ja-JP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ja-JP" altLang="en-US">
                <a:solidFill>
                  <a:prstClr val="black">
                    <a:tint val="75000"/>
                  </a:prstClr>
                </a:solidFill>
              </a:rPr>
              <a:t>カーボン・ディスラプションに備えよ</a:t>
            </a:r>
            <a:endParaRPr lang="en-US" altLang="ja-JP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スライド番号プレースホルダ 10"/>
          <p:cNvSpPr>
            <a:spLocks noGrp="1"/>
          </p:cNvSpPr>
          <p:nvPr>
            <p:ph type="sldNum" sz="quarter" idx="4"/>
          </p:nvPr>
        </p:nvSpPr>
        <p:spPr>
          <a:xfrm>
            <a:off x="7634548" y="6489486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85" baseline="0">
                <a:solidFill>
                  <a:schemeClr val="tx1">
                    <a:tint val="75000"/>
                  </a:schemeClr>
                </a:solidFill>
                <a:latin typeface="HG丸ｺﾞｼｯｸM-PRO" pitchFamily="50" charset="-128"/>
                <a:ea typeface="HG丸ｺﾞｼｯｸM-PRO" pitchFamily="50" charset="-128"/>
              </a:defRPr>
            </a:lvl1pPr>
          </a:lstStyle>
          <a:p>
            <a:fld id="{F93BBD5F-2765-4267-9487-9672B0A6ABFD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正方形/長方形 5"/>
          <p:cNvSpPr/>
          <p:nvPr userDrawn="1"/>
        </p:nvSpPr>
        <p:spPr>
          <a:xfrm>
            <a:off x="17" y="469168"/>
            <a:ext cx="9906000" cy="72008"/>
          </a:xfrm>
          <a:prstGeom prst="rect">
            <a:avLst/>
          </a:prstGeom>
          <a:solidFill>
            <a:srgbClr val="A7C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62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84136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準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プレースホルダー 9"/>
          <p:cNvSpPr>
            <a:spLocks noGrp="1"/>
          </p:cNvSpPr>
          <p:nvPr>
            <p:ph type="body" sz="quarter" idx="14" hasCustomPrompt="1"/>
          </p:nvPr>
        </p:nvSpPr>
        <p:spPr>
          <a:xfrm>
            <a:off x="200807" y="3105000"/>
            <a:ext cx="1715213" cy="28405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46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説明文（</a:t>
            </a:r>
            <a:r>
              <a:rPr kumimoji="1" lang="en-US" altLang="ja-JP" dirty="0"/>
              <a:t>20pt</a:t>
            </a:r>
            <a:r>
              <a:rPr kumimoji="1" lang="ja-JP" altLang="en-US" dirty="0"/>
              <a:t>）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5" hasCustomPrompt="1"/>
          </p:nvPr>
        </p:nvSpPr>
        <p:spPr>
          <a:xfrm>
            <a:off x="200472" y="3769296"/>
            <a:ext cx="1194238" cy="19896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93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説明文（</a:t>
            </a:r>
            <a:r>
              <a:rPr kumimoji="1" lang="en-US" altLang="ja-JP" dirty="0"/>
              <a:t>14pt</a:t>
            </a:r>
            <a:r>
              <a:rPr kumimoji="1" lang="ja-JP" altLang="en-US" dirty="0"/>
              <a:t>）</a:t>
            </a:r>
          </a:p>
        </p:txBody>
      </p:sp>
      <p:sp>
        <p:nvSpPr>
          <p:cNvPr id="11" name="テキスト プレースホルダー 9"/>
          <p:cNvSpPr>
            <a:spLocks noGrp="1"/>
          </p:cNvSpPr>
          <p:nvPr>
            <p:ph type="body" sz="quarter" idx="16" hasCustomPrompt="1"/>
          </p:nvPr>
        </p:nvSpPr>
        <p:spPr>
          <a:xfrm>
            <a:off x="200485" y="4365140"/>
            <a:ext cx="1021113" cy="14927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7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説明文（</a:t>
            </a:r>
            <a:r>
              <a:rPr kumimoji="1" lang="en-US" altLang="ja-JP" dirty="0"/>
              <a:t>10.5pt</a:t>
            </a:r>
            <a:r>
              <a:rPr kumimoji="1" lang="ja-JP" altLang="en-US" dirty="0"/>
              <a:t>）</a:t>
            </a:r>
          </a:p>
        </p:txBody>
      </p:sp>
      <p:sp>
        <p:nvSpPr>
          <p:cNvPr id="14" name="スライド番号プレースホルダー 2"/>
          <p:cNvSpPr txBox="1">
            <a:spLocks/>
          </p:cNvSpPr>
          <p:nvPr userDrawn="1"/>
        </p:nvSpPr>
        <p:spPr>
          <a:xfrm>
            <a:off x="9054732" y="30608"/>
            <a:ext cx="851273" cy="446064"/>
          </a:xfrm>
          <a:prstGeom prst="rect">
            <a:avLst/>
          </a:prstGeom>
        </p:spPr>
        <p:txBody>
          <a:bodyPr/>
          <a:lstStyle>
            <a:defPPr>
              <a:defRPr lang="ja-JP"/>
            </a:defPPr>
            <a:lvl1pPr marL="0" algn="r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550142-B990-490A-A107-ED7302A7FD52}" type="slidenum">
              <a:rPr lang="ja-JP" altLang="en-US" sz="1661" b="1" smtClean="0">
                <a:solidFill>
                  <a:prstClr val="white">
                    <a:lumMod val="50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pPr/>
              <a:t>‹#›</a:t>
            </a:fld>
            <a:endParaRPr lang="ja-JP" altLang="en-US" sz="1661" b="1" dirty="0">
              <a:solidFill>
                <a:prstClr val="white">
                  <a:lumMod val="50000"/>
                </a:prstClr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055656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準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>
          <a:xfrm>
            <a:off x="-10682" y="6520297"/>
            <a:ext cx="2311400" cy="365125"/>
          </a:xfrm>
          <a:prstGeom prst="rect">
            <a:avLst/>
          </a:prstGeom>
        </p:spPr>
        <p:txBody>
          <a:bodyPr/>
          <a:lstStyle/>
          <a:p>
            <a:r>
              <a:rPr kumimoji="1" lang="en-US" altLang="ja-JP"/>
              <a:t>2018</a:t>
            </a:r>
            <a:r>
              <a:rPr kumimoji="1" lang="ja-JP" altLang="en-US"/>
              <a:t>年</a:t>
            </a:r>
            <a:r>
              <a:rPr kumimoji="1" lang="en-US" altLang="ja-JP"/>
              <a:t>1</a:t>
            </a:r>
            <a:r>
              <a:rPr kumimoji="1" lang="ja-JP" altLang="en-US"/>
              <a:t>月</a:t>
            </a:r>
            <a:r>
              <a:rPr kumimoji="1" lang="en-US" altLang="ja-JP"/>
              <a:t>10</a:t>
            </a:r>
            <a:r>
              <a:rPr kumimoji="1" lang="ja-JP" altLang="en-US"/>
              <a:t>日 第一回</a:t>
            </a:r>
            <a:r>
              <a:rPr kumimoji="1" lang="en-US" altLang="ja-JP"/>
              <a:t>ESG</a:t>
            </a:r>
            <a:r>
              <a:rPr kumimoji="1" lang="ja-JP" altLang="en-US"/>
              <a:t>金融懇談会末吉様提出資料より</a:t>
            </a: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>
          <a:xfrm>
            <a:off x="3392832" y="6525382"/>
            <a:ext cx="3136900" cy="365125"/>
          </a:xfrm>
          <a:prstGeom prst="rect">
            <a:avLst/>
          </a:prstGeom>
        </p:spPr>
        <p:txBody>
          <a:bodyPr/>
          <a:lstStyle/>
          <a:p>
            <a:r>
              <a:rPr kumimoji="1" lang="ja-JP" altLang="en-US"/>
              <a:t>カーボン・ディスラプションに備えよ</a:t>
            </a:r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7605295" y="6525382"/>
            <a:ext cx="2311400" cy="365125"/>
          </a:xfrm>
          <a:prstGeom prst="rect">
            <a:avLst/>
          </a:prstGeom>
        </p:spPr>
        <p:txBody>
          <a:bodyPr/>
          <a:lstStyle/>
          <a:p>
            <a:fld id="{D9550142-B990-490A-A107-ED7302A7FD52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6" name="タイトル 1"/>
          <p:cNvSpPr>
            <a:spLocks noGrp="1"/>
          </p:cNvSpPr>
          <p:nvPr>
            <p:ph type="title"/>
          </p:nvPr>
        </p:nvSpPr>
        <p:spPr>
          <a:xfrm>
            <a:off x="200471" y="202878"/>
            <a:ext cx="9505503" cy="433196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ja-JP" altLang="en-US" sz="2215" b="1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8" name="テキスト プレースホルダー 9"/>
          <p:cNvSpPr>
            <a:spLocks noGrp="1"/>
          </p:cNvSpPr>
          <p:nvPr>
            <p:ph type="body" sz="quarter" idx="13" hasCustomPrompt="1"/>
          </p:nvPr>
        </p:nvSpPr>
        <p:spPr>
          <a:xfrm>
            <a:off x="200800" y="6309356"/>
            <a:ext cx="9396722" cy="14927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7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（資料）●●</a:t>
            </a:r>
          </a:p>
        </p:txBody>
      </p:sp>
      <p:sp>
        <p:nvSpPr>
          <p:cNvPr id="9" name="テキスト プレースホルダー 9"/>
          <p:cNvSpPr>
            <a:spLocks noGrp="1"/>
          </p:cNvSpPr>
          <p:nvPr>
            <p:ph type="body" sz="quarter" idx="14" hasCustomPrompt="1"/>
          </p:nvPr>
        </p:nvSpPr>
        <p:spPr>
          <a:xfrm>
            <a:off x="200807" y="3105000"/>
            <a:ext cx="1715213" cy="28405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46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説明文（</a:t>
            </a:r>
            <a:r>
              <a:rPr kumimoji="1" lang="en-US" altLang="ja-JP" dirty="0"/>
              <a:t>20pt</a:t>
            </a:r>
            <a:r>
              <a:rPr kumimoji="1" lang="ja-JP" altLang="en-US" dirty="0"/>
              <a:t>）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5" hasCustomPrompt="1"/>
          </p:nvPr>
        </p:nvSpPr>
        <p:spPr>
          <a:xfrm>
            <a:off x="200472" y="3769296"/>
            <a:ext cx="1194238" cy="19896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93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説明文（</a:t>
            </a:r>
            <a:r>
              <a:rPr kumimoji="1" lang="en-US" altLang="ja-JP" dirty="0"/>
              <a:t>14pt</a:t>
            </a:r>
            <a:r>
              <a:rPr kumimoji="1" lang="ja-JP" altLang="en-US" dirty="0"/>
              <a:t>）</a:t>
            </a:r>
          </a:p>
        </p:txBody>
      </p:sp>
      <p:sp>
        <p:nvSpPr>
          <p:cNvPr id="11" name="テキスト プレースホルダー 9"/>
          <p:cNvSpPr>
            <a:spLocks noGrp="1"/>
          </p:cNvSpPr>
          <p:nvPr>
            <p:ph type="body" sz="quarter" idx="16" hasCustomPrompt="1"/>
          </p:nvPr>
        </p:nvSpPr>
        <p:spPr>
          <a:xfrm>
            <a:off x="200485" y="4365140"/>
            <a:ext cx="1021113" cy="14927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7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説明文（</a:t>
            </a:r>
            <a:r>
              <a:rPr kumimoji="1" lang="en-US" altLang="ja-JP" dirty="0"/>
              <a:t>10.5pt</a:t>
            </a:r>
            <a:r>
              <a:rPr kumimoji="1" lang="ja-JP" altLang="en-US" dirty="0"/>
              <a:t>）</a:t>
            </a:r>
          </a:p>
        </p:txBody>
      </p:sp>
      <p:sp>
        <p:nvSpPr>
          <p:cNvPr id="12" name="テキスト プレースホルダー 11"/>
          <p:cNvSpPr>
            <a:spLocks noGrp="1"/>
          </p:cNvSpPr>
          <p:nvPr>
            <p:ph type="body" sz="quarter" idx="17"/>
          </p:nvPr>
        </p:nvSpPr>
        <p:spPr>
          <a:xfrm>
            <a:off x="200043" y="764706"/>
            <a:ext cx="9505950" cy="502161"/>
          </a:xfrm>
          <a:prstGeom prst="rect">
            <a:avLst/>
          </a:prstGeom>
          <a:solidFill>
            <a:srgbClr val="99D6EC"/>
          </a:solidFill>
          <a:ln>
            <a:noFill/>
          </a:ln>
        </p:spPr>
        <p:txBody>
          <a:bodyPr vert="horz" wrap="square" lIns="216000" tIns="108000" rIns="216000" bIns="108000" rtlCol="0" anchor="t" anchorCtr="0">
            <a:spAutoFit/>
          </a:bodyPr>
          <a:lstStyle>
            <a:lvl1pPr>
              <a:defRPr lang="ja-JP" altLang="en-US" sz="1846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237404" lvl="0" indent="-237404">
              <a:spcBef>
                <a:spcPts val="554"/>
              </a:spcBef>
              <a:spcAft>
                <a:spcPts val="554"/>
              </a:spcAft>
              <a:buClr>
                <a:srgbClr val="002060"/>
              </a:buClr>
              <a:buFont typeface="Wingdings" panose="05000000000000000000" pitchFamily="2" charset="2"/>
              <a:buChar char="l"/>
            </a:pPr>
            <a:r>
              <a:rPr kumimoji="1" lang="ja-JP" altLang="en-US"/>
              <a:t>マスター テキストの書式設定</a:t>
            </a:r>
          </a:p>
        </p:txBody>
      </p:sp>
      <p:sp>
        <p:nvSpPr>
          <p:cNvPr id="13" name="正方形/長方形 12"/>
          <p:cNvSpPr/>
          <p:nvPr userDrawn="1"/>
        </p:nvSpPr>
        <p:spPr>
          <a:xfrm>
            <a:off x="17" y="469168"/>
            <a:ext cx="9906000" cy="72008"/>
          </a:xfrm>
          <a:prstGeom prst="rect">
            <a:avLst/>
          </a:prstGeom>
          <a:solidFill>
            <a:srgbClr val="A7C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62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2657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"/>
          <p:cNvSpPr>
            <a:spLocks noGrp="1"/>
          </p:cNvSpPr>
          <p:nvPr>
            <p:ph type="title"/>
          </p:nvPr>
        </p:nvSpPr>
        <p:spPr>
          <a:xfrm>
            <a:off x="200026" y="116634"/>
            <a:ext cx="9505950" cy="398463"/>
          </a:xfrm>
        </p:spPr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04300" y="6308725"/>
            <a:ext cx="917575" cy="54927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rgbClr val="000000"/>
                </a:solidFill>
                <a:latin typeface="Segoe UI" panose="020B0502040204020203" pitchFamily="34" charset="0"/>
              </a:defRPr>
            </a:lvl1pPr>
          </a:lstStyle>
          <a:p>
            <a:fld id="{F8CF9710-DBE0-4C3D-A08D-A7A5F1F3197C}" type="slidenum">
              <a:rPr lang="en-US" altLang="ja-JP"/>
              <a:pPr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8123702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85749" y="1"/>
            <a:ext cx="8420100" cy="493058"/>
          </a:xfr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099314" y="6453508"/>
            <a:ext cx="2311400" cy="26813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2A9EE-503C-4A34-81E5-ED5C603B789E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63035457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オブジェクト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オブジェクト 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9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5" name="オブジェクト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ー 2"/>
          <p:cNvSpPr>
            <a:spLocks noGrp="1"/>
          </p:cNvSpPr>
          <p:nvPr>
            <p:ph type="body" sz="quarter" idx="15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7" name="スライド番号プレースホルダ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EC766AD2-521A-4459-858E-981CCEA5ACC0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96005405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補足版） コンテンツ全面_レベル_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>
          <a:xfrm>
            <a:off x="410404" y="6457374"/>
            <a:ext cx="726176" cy="270000"/>
          </a:xfrm>
          <a:prstGeom prst="rect">
            <a:avLst/>
          </a:prstGeom>
        </p:spPr>
        <p:txBody>
          <a:bodyPr/>
          <a:lstStyle>
            <a:lvl1pPr>
              <a:defRPr sz="929"/>
            </a:lvl1pPr>
          </a:lstStyle>
          <a:p>
            <a:fld id="{4D9FACC8-259C-46ED-9283-8CCF027B3826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4009" y="136800"/>
            <a:ext cx="9040943" cy="651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マスタ タイトルの書式設定</a:t>
            </a:r>
          </a:p>
        </p:txBody>
      </p:sp>
      <p:sp>
        <p:nvSpPr>
          <p:cNvPr id="8" name="テキスト プレースホルダ 5"/>
          <p:cNvSpPr>
            <a:spLocks noGrp="1"/>
          </p:cNvSpPr>
          <p:nvPr>
            <p:ph type="body" sz="quarter" idx="14"/>
          </p:nvPr>
        </p:nvSpPr>
        <p:spPr bwMode="gray">
          <a:xfrm>
            <a:off x="414001" y="1009580"/>
            <a:ext cx="9039601" cy="439200"/>
          </a:xfrm>
        </p:spPr>
        <p:txBody>
          <a:bodyPr lIns="95843" tIns="0" rIns="95843" bIns="0">
            <a:noAutofit/>
          </a:bodyPr>
          <a:lstStyle>
            <a:lvl1pPr marL="0" indent="0">
              <a:spcBef>
                <a:spcPts val="0"/>
              </a:spcBef>
              <a:defRPr sz="1429"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マスタ テキストの書式設定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1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10" y="1926000"/>
            <a:ext cx="9066014" cy="4370400"/>
          </a:xfrm>
        </p:spPr>
        <p:txBody>
          <a:bodyPr/>
          <a:lstStyle>
            <a:lvl1pPr>
              <a:defRPr baseline="0">
                <a:latin typeface="+mn-lt"/>
                <a:ea typeface="+mn-ea"/>
              </a:defRPr>
            </a:lvl1pPr>
            <a:lvl2pPr>
              <a:lnSpc>
                <a:spcPct val="106000"/>
              </a:lnSpc>
              <a:spcBef>
                <a:spcPts val="1008"/>
              </a:spcBef>
              <a:defRPr baseline="0">
                <a:latin typeface="+mn-lt"/>
                <a:ea typeface="+mn-ea"/>
              </a:defRPr>
            </a:lvl2pPr>
            <a:lvl3pPr>
              <a:lnSpc>
                <a:spcPct val="106000"/>
              </a:lnSpc>
              <a:spcBef>
                <a:spcPts val="459"/>
              </a:spcBef>
              <a:defRPr baseline="0">
                <a:latin typeface="+mn-lt"/>
                <a:ea typeface="+mn-ea"/>
              </a:defRPr>
            </a:lvl3pPr>
            <a:lvl4pPr>
              <a:lnSpc>
                <a:spcPct val="106000"/>
              </a:lnSpc>
              <a:spcBef>
                <a:spcPts val="229"/>
              </a:spcBef>
              <a:defRPr baseline="0">
                <a:latin typeface="+mn-lt"/>
                <a:ea typeface="+mn-ea"/>
              </a:defRPr>
            </a:lvl4pPr>
          </a:lstStyle>
          <a:p>
            <a:pPr lvl="0"/>
            <a:r>
              <a:rPr lang="ja-JP" altLang="en-US" dirty="0"/>
              <a:t>マスタ テキストの書式設定</a:t>
            </a:r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1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590029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kumimoji="1" lang="ja-JP" altLang="en-US"/>
              <a:t>マスター サブタイトルの書式設定</a:t>
            </a:r>
            <a:endParaRPr kumimoji="1" lang="ja-JP" altLang="en-US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F7C13D8-C0F4-4AF4-A07E-D2D18B20BBEC}" type="datetimeFigureOut">
              <a:rPr lang="ja-JP" altLang="en-US" smtClean="0"/>
              <a:pPr>
                <a:defRPr/>
              </a:pPr>
              <a:t>2018/5/15</a:t>
            </a:fld>
            <a:endParaRPr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246AB0-E340-492E-A5FD-86C5DA939594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29281399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  <a:endParaRPr kumimoji="1"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E8C9C93-D28F-48B9-B1A8-47793C6E94AA}" type="datetimeFigureOut">
              <a:rPr lang="ja-JP" altLang="en-US" smtClean="0"/>
              <a:pPr>
                <a:defRPr/>
              </a:pPr>
              <a:t>2018/5/15</a:t>
            </a:fld>
            <a:endParaRPr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BDF4D-19FC-4A85-8415-F8A35F0C8450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415075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12CC1-C848-4AB9-BCC3-8DFDBA9EC38E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51A726-C94B-419D-AB33-3ED000D7AEF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02785684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  <a:endParaRPr kumimoji="1"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/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/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12CC1-C848-4AB9-BCC3-8DFDBA9EC38E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51A726-C94B-419D-AB33-3ED000D7AEF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70830563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/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/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12CC1-C848-4AB9-BCC3-8DFDBA9EC38E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51A726-C94B-419D-AB33-3ED000D7AEF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99987239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A75CC60-36EB-4A64-9B35-64CD0EBC0930}" type="datetime1">
              <a:rPr lang="ja-JP" altLang="en-US" smtClean="0"/>
              <a:pPr>
                <a:defRPr/>
              </a:pPr>
              <a:t>2018/5/15</a:t>
            </a:fld>
            <a:endParaRPr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0BBFAD-4E14-4A65-9378-4AF5E922AACB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0750208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59A821C-354C-485B-A3C4-7C159A7F152A}" type="datetime1">
              <a:rPr lang="ja-JP" altLang="en-US" smtClean="0"/>
              <a:pPr>
                <a:defRPr/>
              </a:pPr>
              <a:t>2018/5/15</a:t>
            </a:fld>
            <a:endParaRPr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28B67-2327-4A96-99F4-6ED993F477E1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5342183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764704"/>
          </a:xfrm>
          <a:solidFill>
            <a:schemeClr val="accent1">
              <a:lumMod val="75000"/>
            </a:schemeClr>
          </a:solidFill>
        </p:spPr>
        <p:txBody>
          <a:bodyPr lIns="144000" rIns="144000"/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3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fld id="{BA75CC60-36EB-4A64-9B35-64CD0EBC0930}" type="datetime1">
              <a:rPr lang="ja-JP" altLang="en-US"/>
              <a:pPr>
                <a:defRPr/>
              </a:pPr>
              <a:t>2018/5/15</a:t>
            </a:fld>
            <a:endParaRPr lang="ja-JP" altLang="en-US"/>
          </a:p>
        </p:txBody>
      </p:sp>
      <p:sp>
        <p:nvSpPr>
          <p:cNvPr id="4" name="フッター プレースホルダー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5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7534275" y="6432550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600">
                <a:solidFill>
                  <a:srgbClr val="262626"/>
                </a:solidFill>
              </a:defRPr>
            </a:lvl1pPr>
          </a:lstStyle>
          <a:p>
            <a:fld id="{270BBFAD-4E14-4A65-9378-4AF5E922AACB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9695777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12CC1-C848-4AB9-BCC3-8DFDBA9EC38E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51A726-C94B-419D-AB33-3ED000D7AEF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88650046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/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12CC1-C848-4AB9-BCC3-8DFDBA9EC38E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51A726-C94B-419D-AB33-3ED000D7AEF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54485787"/>
      </p:ext>
    </p:extLst>
  </p:cSld>
  <p:clrMapOvr>
    <a:masterClrMapping/>
  </p:clrMapOvr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  <a:endParaRPr kumimoji="1" lang="ja-JP" altLang="en-US"/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12CC1-C848-4AB9-BCC3-8DFDBA9EC38E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51A726-C94B-419D-AB33-3ED000D7AEF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60511031"/>
      </p:ext>
    </p:extLst>
  </p:cSld>
  <p:clrMapOvr>
    <a:masterClrMapping/>
  </p:clrMapOvr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  <a:endParaRPr kumimoji="1" lang="ja-JP" altLang="en-US"/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12CC1-C848-4AB9-BCC3-8DFDBA9EC38E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51A726-C94B-419D-AB33-3ED000D7AEF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63102794"/>
      </p:ext>
    </p:extLst>
  </p:cSld>
  <p:clrMapOvr>
    <a:masterClrMapping/>
  </p:clrMapOvr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2" name="think-cell Slide" r:id="rId4" imgW="528" imgH="528" progId="TCLayout.ActiveDocument.1">
                  <p:embed/>
                </p:oleObj>
              </mc:Choice>
              <mc:Fallback>
                <p:oleObj name="think-cell Slide" r:id="rId4" imgW="528" imgH="528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2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2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4236601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補足版） コンテンツ全面_レベル_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>
          <a:xfrm>
            <a:off x="410404" y="6457374"/>
            <a:ext cx="726176" cy="270000"/>
          </a:xfrm>
          <a:prstGeom prst="rect">
            <a:avLst/>
          </a:prstGeom>
        </p:spPr>
        <p:txBody>
          <a:bodyPr/>
          <a:lstStyle>
            <a:lvl1pPr>
              <a:defRPr sz="929"/>
            </a:lvl1pPr>
          </a:lstStyle>
          <a:p>
            <a:fld id="{4D9FACC8-259C-46ED-9283-8CCF027B3826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4009" y="136800"/>
            <a:ext cx="9040943" cy="651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マスタ タイトルの書式設定</a:t>
            </a:r>
          </a:p>
        </p:txBody>
      </p:sp>
      <p:sp>
        <p:nvSpPr>
          <p:cNvPr id="8" name="テキスト プレースホルダ 5"/>
          <p:cNvSpPr>
            <a:spLocks noGrp="1"/>
          </p:cNvSpPr>
          <p:nvPr>
            <p:ph type="body" sz="quarter" idx="14"/>
          </p:nvPr>
        </p:nvSpPr>
        <p:spPr bwMode="gray">
          <a:xfrm>
            <a:off x="414001" y="1009580"/>
            <a:ext cx="9039601" cy="439200"/>
          </a:xfrm>
        </p:spPr>
        <p:txBody>
          <a:bodyPr lIns="95843" tIns="0" rIns="95843" bIns="0">
            <a:noAutofit/>
          </a:bodyPr>
          <a:lstStyle>
            <a:lvl1pPr marL="0" indent="0">
              <a:spcBef>
                <a:spcPts val="0"/>
              </a:spcBef>
              <a:defRPr sz="1429"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マスタ テキストの書式設定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1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10" y="1926000"/>
            <a:ext cx="9066014" cy="4370400"/>
          </a:xfrm>
        </p:spPr>
        <p:txBody>
          <a:bodyPr/>
          <a:lstStyle>
            <a:lvl1pPr>
              <a:defRPr baseline="0">
                <a:latin typeface="+mn-lt"/>
                <a:ea typeface="+mn-ea"/>
              </a:defRPr>
            </a:lvl1pPr>
            <a:lvl2pPr>
              <a:lnSpc>
                <a:spcPct val="106000"/>
              </a:lnSpc>
              <a:spcBef>
                <a:spcPts val="1008"/>
              </a:spcBef>
              <a:defRPr baseline="0">
                <a:latin typeface="+mn-lt"/>
                <a:ea typeface="+mn-ea"/>
              </a:defRPr>
            </a:lvl2pPr>
            <a:lvl3pPr>
              <a:lnSpc>
                <a:spcPct val="106000"/>
              </a:lnSpc>
              <a:spcBef>
                <a:spcPts val="459"/>
              </a:spcBef>
              <a:defRPr baseline="0">
                <a:latin typeface="+mn-lt"/>
                <a:ea typeface="+mn-ea"/>
              </a:defRPr>
            </a:lvl3pPr>
            <a:lvl4pPr>
              <a:lnSpc>
                <a:spcPct val="106000"/>
              </a:lnSpc>
              <a:spcBef>
                <a:spcPts val="229"/>
              </a:spcBef>
              <a:defRPr baseline="0">
                <a:latin typeface="+mn-lt"/>
                <a:ea typeface="+mn-ea"/>
              </a:defRPr>
            </a:lvl4pPr>
          </a:lstStyle>
          <a:p>
            <a:pPr lvl="0"/>
            <a:r>
              <a:rPr lang="ja-JP" altLang="en-US" dirty="0"/>
              <a:t>マスタ テキストの書式設定</a:t>
            </a:r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1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541762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fld id="{559A821C-354C-485B-A3C4-7C159A7F152A}" type="datetime1">
              <a:rPr lang="ja-JP" altLang="en-US"/>
              <a:pPr>
                <a:defRPr/>
              </a:pPr>
              <a:t>2018/5/15</a:t>
            </a:fld>
            <a:endParaRPr lang="ja-JP" altLang="en-US"/>
          </a:p>
        </p:txBody>
      </p:sp>
      <p:sp>
        <p:nvSpPr>
          <p:cNvPr id="3" name="フッター プレースホルダー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4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373737"/>
                </a:solidFill>
              </a:defRPr>
            </a:lvl1pPr>
          </a:lstStyle>
          <a:p>
            <a:fld id="{11F28B67-2327-4A96-99F4-6ED993F477E1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494884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7C13D8-C0F4-4AF4-A07E-D2D18B20BBEC}" type="datetimeFigureOut">
              <a:rPr lang="ja-JP" altLang="en-US"/>
              <a:pPr>
                <a:defRPr/>
              </a:pPr>
              <a:t>2018/5/15</a:t>
            </a:fld>
            <a:endParaRPr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4246AB0-E340-492E-A5FD-86C5DA939594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9484998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8C9C93-D28F-48B9-B1A8-47793C6E94AA}" type="datetimeFigureOut">
              <a:rPr lang="ja-JP" altLang="en-US"/>
              <a:pPr>
                <a:defRPr/>
              </a:pPr>
              <a:t>2018/5/15</a:t>
            </a:fld>
            <a:endParaRPr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92BDF4D-19FC-4A85-8415-F8A35F0C8450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0759285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" name="think-cell Slide" r:id="rId4" imgW="528" imgH="528" progId="TCLayout.ActiveDocument.1">
                  <p:embed/>
                </p:oleObj>
              </mc:Choice>
              <mc:Fallback>
                <p:oleObj name="think-cell Slide" r:id="rId4" imgW="528" imgH="528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2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2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285849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タイトル"/>
          <p:cNvSpPr>
            <a:spLocks noGrp="1" noChangeArrowheads="1"/>
          </p:cNvSpPr>
          <p:nvPr>
            <p:ph type="title"/>
          </p:nvPr>
        </p:nvSpPr>
        <p:spPr bwMode="auto">
          <a:xfrm>
            <a:off x="0" y="115888"/>
            <a:ext cx="9906000" cy="398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タイトルの書式設定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5413" y="693738"/>
            <a:ext cx="9652000" cy="1079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endParaRPr lang="ja-JP" altLang="en-US"/>
          </a:p>
        </p:txBody>
      </p:sp>
      <p:grpSp>
        <p:nvGrpSpPr>
          <p:cNvPr id="2052" name="グループ化 4"/>
          <p:cNvGrpSpPr>
            <a:grpSpLocks/>
          </p:cNvGrpSpPr>
          <p:nvPr/>
        </p:nvGrpSpPr>
        <p:grpSpPr bwMode="auto">
          <a:xfrm>
            <a:off x="-2679700" y="3389313"/>
            <a:ext cx="2460625" cy="1514475"/>
            <a:chOff x="-2679700" y="3389313"/>
            <a:chExt cx="2460625" cy="1514475"/>
          </a:xfrm>
        </p:grpSpPr>
        <p:sp>
          <p:nvSpPr>
            <p:cNvPr id="3105" name="Rectangle 20"/>
            <p:cNvSpPr>
              <a:spLocks noChangeArrowheads="1"/>
            </p:cNvSpPr>
            <p:nvPr/>
          </p:nvSpPr>
          <p:spPr bwMode="auto">
            <a:xfrm>
              <a:off x="-2679700" y="3933825"/>
              <a:ext cx="2460625" cy="5794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algn="ctr">
                  <a:solidFill>
                    <a:schemeClr val="fol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180000" rIns="180000" bIns="180000" anchor="ctr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9pPr>
            </a:lstStyle>
            <a:p>
              <a:pPr>
                <a:defRPr/>
              </a:pPr>
              <a:endParaRPr lang="ja-JP" altLang="en-US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3106" name="Rectangle 21"/>
            <p:cNvSpPr>
              <a:spLocks noChangeArrowheads="1"/>
            </p:cNvSpPr>
            <p:nvPr/>
          </p:nvSpPr>
          <p:spPr bwMode="auto">
            <a:xfrm>
              <a:off x="-581025" y="4586288"/>
              <a:ext cx="236537" cy="223837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8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9pPr>
            </a:lstStyle>
            <a:p>
              <a:pPr>
                <a:defRPr/>
              </a:pPr>
              <a:endParaRPr lang="ja-JP" altLang="en-US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3107" name="Rectangle 22"/>
            <p:cNvSpPr>
              <a:spLocks noChangeArrowheads="1"/>
            </p:cNvSpPr>
            <p:nvPr/>
          </p:nvSpPr>
          <p:spPr bwMode="auto">
            <a:xfrm>
              <a:off x="-2263775" y="4618038"/>
              <a:ext cx="1584325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9pPr>
            </a:lstStyle>
            <a:p>
              <a:pPr algn="r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kumimoji="0" lang="en-GB" altLang="ja-JP" sz="1100">
                  <a:solidFill>
                    <a:srgbClr val="000000"/>
                  </a:solidFill>
                  <a:latin typeface="Times New Roman" panose="02020603050405020304" pitchFamily="18" charset="0"/>
                  <a:ea typeface="HGPｺﾞｼｯｸE" panose="020B0900000000000000" pitchFamily="50" charset="-128"/>
                  <a:cs typeface="+mn-cs"/>
                </a:rPr>
                <a:t>Yellow</a:t>
              </a:r>
            </a:p>
            <a:p>
              <a:pPr algn="r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kumimoji="0" lang="en-GB" altLang="ja-JP" sz="1100">
                  <a:solidFill>
                    <a:srgbClr val="000000"/>
                  </a:solidFill>
                  <a:latin typeface="Times New Roman" panose="02020603050405020304" pitchFamily="18" charset="0"/>
                  <a:ea typeface="HGPｺﾞｼｯｸE" panose="020B0900000000000000" pitchFamily="50" charset="-128"/>
                  <a:cs typeface="+mn-cs"/>
                </a:rPr>
                <a:t>RGB= 255,255,153</a:t>
              </a:r>
            </a:p>
          </p:txBody>
        </p:sp>
        <p:grpSp>
          <p:nvGrpSpPr>
            <p:cNvPr id="2084" name="グループ化 3"/>
            <p:cNvGrpSpPr>
              <a:grpSpLocks/>
            </p:cNvGrpSpPr>
            <p:nvPr userDrawn="1"/>
          </p:nvGrpSpPr>
          <p:grpSpPr bwMode="auto">
            <a:xfrm>
              <a:off x="-2263775" y="3709988"/>
              <a:ext cx="1919288" cy="300037"/>
              <a:chOff x="-2263775" y="3709988"/>
              <a:chExt cx="1919288" cy="300037"/>
            </a:xfrm>
          </p:grpSpPr>
          <p:sp>
            <p:nvSpPr>
              <p:cNvPr id="3113" name="Rectangle 24"/>
              <p:cNvSpPr>
                <a:spLocks noChangeArrowheads="1"/>
              </p:cNvSpPr>
              <p:nvPr/>
            </p:nvSpPr>
            <p:spPr bwMode="auto">
              <a:xfrm>
                <a:off x="-581025" y="3709988"/>
                <a:ext cx="236537" cy="223837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9pPr>
              </a:lstStyle>
              <a:p>
                <a:pPr>
                  <a:defRPr/>
                </a:pPr>
                <a:endParaRPr lang="ja-JP" altLang="en-US">
                  <a:solidFill>
                    <a:srgbClr val="000000"/>
                  </a:solidFill>
                  <a:cs typeface="+mn-cs"/>
                </a:endParaRPr>
              </a:p>
            </p:txBody>
          </p:sp>
          <p:sp>
            <p:nvSpPr>
              <p:cNvPr id="3114" name="Rectangle 25"/>
              <p:cNvSpPr>
                <a:spLocks noChangeArrowheads="1"/>
              </p:cNvSpPr>
              <p:nvPr/>
            </p:nvSpPr>
            <p:spPr bwMode="auto">
              <a:xfrm>
                <a:off x="-2263775" y="3724275"/>
                <a:ext cx="1584325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9pPr>
              </a:lstStyle>
              <a:p>
                <a:pPr algn="r"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  <a:defRPr/>
                </a:pPr>
                <a:r>
                  <a:rPr kumimoji="0" lang="en-US" altLang="ja-JP" sz="1100">
                    <a:solidFill>
                      <a:srgbClr val="000000"/>
                    </a:solidFill>
                    <a:latin typeface="Times New Roman" panose="02020603050405020304" pitchFamily="18" charset="0"/>
                    <a:ea typeface="HGPｺﾞｼｯｸE" panose="020B0900000000000000" pitchFamily="50" charset="-128"/>
                    <a:cs typeface="+mn-cs"/>
                  </a:rPr>
                  <a:t>Sky blue</a:t>
                </a:r>
                <a:endParaRPr kumimoji="0" lang="en-GB" altLang="ja-JP" sz="1100">
                  <a:solidFill>
                    <a:srgbClr val="000000"/>
                  </a:solidFill>
                  <a:latin typeface="Times New Roman" panose="02020603050405020304" pitchFamily="18" charset="0"/>
                  <a:ea typeface="HGPｺﾞｼｯｸE" panose="020B0900000000000000" pitchFamily="50" charset="-128"/>
                  <a:cs typeface="+mn-cs"/>
                </a:endParaRPr>
              </a:p>
              <a:p>
                <a:pPr algn="r"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  <a:defRPr/>
                </a:pPr>
                <a:r>
                  <a:rPr kumimoji="0" lang="en-GB" altLang="ja-JP" sz="1100">
                    <a:solidFill>
                      <a:srgbClr val="000000"/>
                    </a:solidFill>
                    <a:latin typeface="Times New Roman" panose="02020603050405020304" pitchFamily="18" charset="0"/>
                    <a:ea typeface="HGPｺﾞｼｯｸE" panose="020B0900000000000000" pitchFamily="50" charset="-128"/>
                    <a:cs typeface="+mn-cs"/>
                  </a:rPr>
                  <a:t>RGB= </a:t>
                </a:r>
                <a:r>
                  <a:rPr kumimoji="0" lang="en-US" altLang="ja-JP" sz="1100">
                    <a:solidFill>
                      <a:srgbClr val="000000"/>
                    </a:solidFill>
                    <a:latin typeface="Times New Roman" panose="02020603050405020304" pitchFamily="18" charset="0"/>
                    <a:ea typeface="HGPｺﾞｼｯｸE" panose="020B0900000000000000" pitchFamily="50" charset="-128"/>
                    <a:cs typeface="+mn-cs"/>
                  </a:rPr>
                  <a:t>00</a:t>
                </a:r>
                <a:r>
                  <a:rPr kumimoji="0" lang="en-GB" altLang="ja-JP" sz="1100">
                    <a:solidFill>
                      <a:srgbClr val="000000"/>
                    </a:solidFill>
                    <a:latin typeface="Times New Roman" panose="02020603050405020304" pitchFamily="18" charset="0"/>
                    <a:ea typeface="HGPｺﾞｼｯｸE" panose="020B0900000000000000" pitchFamily="50" charset="-128"/>
                    <a:cs typeface="+mn-cs"/>
                  </a:rPr>
                  <a:t>0,17</a:t>
                </a:r>
                <a:r>
                  <a:rPr kumimoji="0" lang="en-US" altLang="ja-JP" sz="1100">
                    <a:solidFill>
                      <a:srgbClr val="000000"/>
                    </a:solidFill>
                    <a:latin typeface="Times New Roman" panose="02020603050405020304" pitchFamily="18" charset="0"/>
                    <a:ea typeface="HGPｺﾞｼｯｸE" panose="020B0900000000000000" pitchFamily="50" charset="-128"/>
                    <a:cs typeface="+mn-cs"/>
                  </a:rPr>
                  <a:t>6</a:t>
                </a:r>
                <a:r>
                  <a:rPr kumimoji="0" lang="en-GB" altLang="ja-JP" sz="1100">
                    <a:solidFill>
                      <a:srgbClr val="000000"/>
                    </a:solidFill>
                    <a:latin typeface="Times New Roman" panose="02020603050405020304" pitchFamily="18" charset="0"/>
                    <a:ea typeface="HGPｺﾞｼｯｸE" panose="020B0900000000000000" pitchFamily="50" charset="-128"/>
                    <a:cs typeface="+mn-cs"/>
                  </a:rPr>
                  <a:t>,240</a:t>
                </a:r>
              </a:p>
            </p:txBody>
          </p:sp>
        </p:grpSp>
        <p:grpSp>
          <p:nvGrpSpPr>
            <p:cNvPr id="2085" name="Group 26"/>
            <p:cNvGrpSpPr>
              <a:grpSpLocks/>
            </p:cNvGrpSpPr>
            <p:nvPr/>
          </p:nvGrpSpPr>
          <p:grpSpPr bwMode="auto">
            <a:xfrm>
              <a:off x="-2263775" y="4148138"/>
              <a:ext cx="1919288" cy="300037"/>
              <a:chOff x="-1379" y="4018"/>
              <a:chExt cx="1209" cy="189"/>
            </a:xfrm>
          </p:grpSpPr>
          <p:sp>
            <p:nvSpPr>
              <p:cNvPr id="3111" name="Rectangle 27"/>
              <p:cNvSpPr>
                <a:spLocks noChangeArrowheads="1"/>
              </p:cNvSpPr>
              <p:nvPr/>
            </p:nvSpPr>
            <p:spPr bwMode="auto">
              <a:xfrm>
                <a:off x="-319" y="4018"/>
                <a:ext cx="149" cy="141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8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9pPr>
              </a:lstStyle>
              <a:p>
                <a:pPr>
                  <a:defRPr/>
                </a:pPr>
                <a:endParaRPr lang="ja-JP" altLang="en-US">
                  <a:solidFill>
                    <a:srgbClr val="000000"/>
                  </a:solidFill>
                  <a:cs typeface="+mn-cs"/>
                </a:endParaRPr>
              </a:p>
            </p:txBody>
          </p:sp>
          <p:sp>
            <p:nvSpPr>
              <p:cNvPr id="3112" name="Rectangle 28"/>
              <p:cNvSpPr>
                <a:spLocks noChangeArrowheads="1"/>
              </p:cNvSpPr>
              <p:nvPr/>
            </p:nvSpPr>
            <p:spPr bwMode="auto">
              <a:xfrm>
                <a:off x="-1379" y="4027"/>
                <a:ext cx="998" cy="18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9pPr>
              </a:lstStyle>
              <a:p>
                <a:pPr algn="r"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  <a:defRPr/>
                </a:pPr>
                <a:r>
                  <a:rPr kumimoji="0" lang="en-GB" altLang="ja-JP" sz="1100">
                    <a:solidFill>
                      <a:srgbClr val="000000"/>
                    </a:solidFill>
                    <a:latin typeface="Times New Roman" panose="02020603050405020304" pitchFamily="18" charset="0"/>
                    <a:ea typeface="HGPｺﾞｼｯｸE" panose="020B0900000000000000" pitchFamily="50" charset="-128"/>
                    <a:cs typeface="+mn-cs"/>
                  </a:rPr>
                  <a:t>Grey</a:t>
                </a:r>
              </a:p>
              <a:p>
                <a:pPr algn="r"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  <a:defRPr/>
                </a:pPr>
                <a:r>
                  <a:rPr kumimoji="0" lang="en-GB" altLang="ja-JP" sz="1100">
                    <a:solidFill>
                      <a:srgbClr val="000000"/>
                    </a:solidFill>
                    <a:latin typeface="Times New Roman" panose="02020603050405020304" pitchFamily="18" charset="0"/>
                    <a:ea typeface="HGPｺﾞｼｯｸE" panose="020B0900000000000000" pitchFamily="50" charset="-128"/>
                    <a:cs typeface="+mn-cs"/>
                  </a:rPr>
                  <a:t>RGB= 221,221,221</a:t>
                </a:r>
              </a:p>
            </p:txBody>
          </p:sp>
        </p:grpSp>
        <p:sp>
          <p:nvSpPr>
            <p:cNvPr id="3110" name="Rectangle 29"/>
            <p:cNvSpPr>
              <a:spLocks noChangeArrowheads="1"/>
            </p:cNvSpPr>
            <p:nvPr/>
          </p:nvSpPr>
          <p:spPr bwMode="auto">
            <a:xfrm>
              <a:off x="-2463800" y="3389313"/>
              <a:ext cx="2144712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9pPr>
            </a:lstStyle>
            <a:p>
              <a:pPr algn="r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kumimoji="0" lang="en-US" altLang="ja-JP" sz="1200" b="1">
                  <a:solidFill>
                    <a:srgbClr val="000000"/>
                  </a:solidFill>
                  <a:latin typeface="Times New Roman" panose="02020603050405020304" pitchFamily="18" charset="0"/>
                  <a:ea typeface="HGPｺﾞｼｯｸE" panose="020B0900000000000000" pitchFamily="50" charset="-128"/>
                  <a:cs typeface="+mn-cs"/>
                </a:rPr>
                <a:t>MOEJ</a:t>
              </a:r>
              <a:r>
                <a:rPr kumimoji="0" lang="en-GB" altLang="ja-JP" sz="1200" b="1">
                  <a:solidFill>
                    <a:srgbClr val="000000"/>
                  </a:solidFill>
                  <a:latin typeface="Times New Roman" panose="02020603050405020304" pitchFamily="18" charset="0"/>
                  <a:ea typeface="HGPｺﾞｼｯｸE" panose="020B0900000000000000" pitchFamily="50" charset="-128"/>
                  <a:cs typeface="+mn-cs"/>
                </a:rPr>
                <a:t> colour balance</a:t>
              </a:r>
            </a:p>
          </p:txBody>
        </p:sp>
      </p:grpSp>
      <p:cxnSp>
        <p:nvCxnSpPr>
          <p:cNvPr id="2053" name="直線コネクタ 18"/>
          <p:cNvCxnSpPr>
            <a:cxnSpLocks noChangeShapeType="1"/>
          </p:cNvCxnSpPr>
          <p:nvPr/>
        </p:nvCxnSpPr>
        <p:spPr bwMode="auto">
          <a:xfrm>
            <a:off x="125413" y="-1149350"/>
            <a:ext cx="0" cy="108108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54" name="直線コネクタ 19"/>
          <p:cNvCxnSpPr>
            <a:cxnSpLocks noChangeShapeType="1"/>
          </p:cNvCxnSpPr>
          <p:nvPr/>
        </p:nvCxnSpPr>
        <p:spPr bwMode="auto">
          <a:xfrm>
            <a:off x="273050" y="-1149350"/>
            <a:ext cx="0" cy="108108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55" name="直線コネクタ 20"/>
          <p:cNvCxnSpPr>
            <a:cxnSpLocks noChangeShapeType="1"/>
          </p:cNvCxnSpPr>
          <p:nvPr/>
        </p:nvCxnSpPr>
        <p:spPr bwMode="auto">
          <a:xfrm>
            <a:off x="1065213" y="-1149350"/>
            <a:ext cx="0" cy="108108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56" name="直線コネクタ 21"/>
          <p:cNvCxnSpPr>
            <a:cxnSpLocks noChangeShapeType="1"/>
          </p:cNvCxnSpPr>
          <p:nvPr/>
        </p:nvCxnSpPr>
        <p:spPr bwMode="auto">
          <a:xfrm>
            <a:off x="1279525" y="-1149350"/>
            <a:ext cx="0" cy="108108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57" name="直線コネクタ 22"/>
          <p:cNvCxnSpPr>
            <a:cxnSpLocks noChangeShapeType="1"/>
          </p:cNvCxnSpPr>
          <p:nvPr/>
        </p:nvCxnSpPr>
        <p:spPr bwMode="auto">
          <a:xfrm>
            <a:off x="4806950" y="-1149350"/>
            <a:ext cx="0" cy="108108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58" name="直線コネクタ 23"/>
          <p:cNvCxnSpPr>
            <a:cxnSpLocks noChangeShapeType="1"/>
          </p:cNvCxnSpPr>
          <p:nvPr/>
        </p:nvCxnSpPr>
        <p:spPr bwMode="auto">
          <a:xfrm>
            <a:off x="5097463" y="-1149350"/>
            <a:ext cx="0" cy="108108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59" name="直線コネクタ 24"/>
          <p:cNvCxnSpPr>
            <a:cxnSpLocks noChangeShapeType="1"/>
          </p:cNvCxnSpPr>
          <p:nvPr/>
        </p:nvCxnSpPr>
        <p:spPr bwMode="auto">
          <a:xfrm>
            <a:off x="6032500" y="-1149350"/>
            <a:ext cx="0" cy="108108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60" name="直線コネクタ 25"/>
          <p:cNvCxnSpPr>
            <a:cxnSpLocks noChangeShapeType="1"/>
          </p:cNvCxnSpPr>
          <p:nvPr/>
        </p:nvCxnSpPr>
        <p:spPr bwMode="auto">
          <a:xfrm>
            <a:off x="8624888" y="-1149350"/>
            <a:ext cx="0" cy="108108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61" name="直線コネクタ 26"/>
          <p:cNvCxnSpPr>
            <a:cxnSpLocks noChangeShapeType="1"/>
          </p:cNvCxnSpPr>
          <p:nvPr/>
        </p:nvCxnSpPr>
        <p:spPr bwMode="auto">
          <a:xfrm>
            <a:off x="9777413" y="-1149350"/>
            <a:ext cx="0" cy="108108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62" name="直線コネクタ 27"/>
          <p:cNvCxnSpPr>
            <a:cxnSpLocks noChangeShapeType="1"/>
          </p:cNvCxnSpPr>
          <p:nvPr/>
        </p:nvCxnSpPr>
        <p:spPr bwMode="auto">
          <a:xfrm>
            <a:off x="9991725" y="762000"/>
            <a:ext cx="10795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63" name="直線コネクタ 29"/>
          <p:cNvCxnSpPr>
            <a:cxnSpLocks noChangeShapeType="1"/>
          </p:cNvCxnSpPr>
          <p:nvPr/>
        </p:nvCxnSpPr>
        <p:spPr bwMode="auto">
          <a:xfrm>
            <a:off x="9991725" y="1265238"/>
            <a:ext cx="10795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64" name="直線コネクタ 30"/>
          <p:cNvCxnSpPr>
            <a:cxnSpLocks noChangeShapeType="1"/>
          </p:cNvCxnSpPr>
          <p:nvPr/>
        </p:nvCxnSpPr>
        <p:spPr bwMode="auto">
          <a:xfrm>
            <a:off x="9991725" y="1408113"/>
            <a:ext cx="10795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65" name="直線コネクタ 32"/>
          <p:cNvCxnSpPr>
            <a:cxnSpLocks noChangeShapeType="1"/>
          </p:cNvCxnSpPr>
          <p:nvPr/>
        </p:nvCxnSpPr>
        <p:spPr bwMode="auto">
          <a:xfrm>
            <a:off x="9991725" y="5445125"/>
            <a:ext cx="10795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66" name="直線コネクタ 33"/>
          <p:cNvCxnSpPr>
            <a:cxnSpLocks noChangeShapeType="1"/>
          </p:cNvCxnSpPr>
          <p:nvPr/>
        </p:nvCxnSpPr>
        <p:spPr bwMode="auto">
          <a:xfrm>
            <a:off x="9991725" y="6669088"/>
            <a:ext cx="10795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91" name="テキスト ボックス 5"/>
          <p:cNvSpPr txBox="1">
            <a:spLocks noChangeArrowheads="1"/>
          </p:cNvSpPr>
          <p:nvPr/>
        </p:nvSpPr>
        <p:spPr bwMode="auto">
          <a:xfrm>
            <a:off x="-277813" y="-1436688"/>
            <a:ext cx="48736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  <a:cs typeface="+mn-cs"/>
              </a:rPr>
              <a:t>13.4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  <a:cs typeface="+mn-cs"/>
            </a:endParaRPr>
          </a:p>
        </p:txBody>
      </p:sp>
      <p:sp>
        <p:nvSpPr>
          <p:cNvPr id="3092" name="テキスト ボックス 35"/>
          <p:cNvSpPr txBox="1">
            <a:spLocks noChangeArrowheads="1"/>
          </p:cNvSpPr>
          <p:nvPr/>
        </p:nvSpPr>
        <p:spPr bwMode="auto">
          <a:xfrm>
            <a:off x="177800" y="-1436688"/>
            <a:ext cx="48736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  <a:cs typeface="+mn-cs"/>
              </a:rPr>
              <a:t>13.0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  <a:cs typeface="+mn-cs"/>
            </a:endParaRPr>
          </a:p>
        </p:txBody>
      </p:sp>
      <p:sp>
        <p:nvSpPr>
          <p:cNvPr id="3093" name="テキスト ボックス 36"/>
          <p:cNvSpPr txBox="1">
            <a:spLocks noChangeArrowheads="1"/>
          </p:cNvSpPr>
          <p:nvPr/>
        </p:nvSpPr>
        <p:spPr bwMode="auto">
          <a:xfrm>
            <a:off x="631825" y="-1436688"/>
            <a:ext cx="48895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  <a:cs typeface="+mn-cs"/>
              </a:rPr>
              <a:t>10.8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  <a:cs typeface="+mn-cs"/>
            </a:endParaRPr>
          </a:p>
        </p:txBody>
      </p:sp>
      <p:sp>
        <p:nvSpPr>
          <p:cNvPr id="3094" name="テキスト ボックス 37"/>
          <p:cNvSpPr txBox="1">
            <a:spLocks noChangeArrowheads="1"/>
          </p:cNvSpPr>
          <p:nvPr/>
        </p:nvSpPr>
        <p:spPr bwMode="auto">
          <a:xfrm>
            <a:off x="1225550" y="-1436688"/>
            <a:ext cx="48736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  <a:cs typeface="+mn-cs"/>
              </a:rPr>
              <a:t>10.2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  <a:cs typeface="+mn-cs"/>
            </a:endParaRPr>
          </a:p>
        </p:txBody>
      </p:sp>
      <p:sp>
        <p:nvSpPr>
          <p:cNvPr id="3095" name="テキスト ボックス 38"/>
          <p:cNvSpPr txBox="1">
            <a:spLocks noChangeArrowheads="1"/>
          </p:cNvSpPr>
          <p:nvPr/>
        </p:nvSpPr>
        <p:spPr bwMode="auto">
          <a:xfrm>
            <a:off x="4437063" y="-1436688"/>
            <a:ext cx="4191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  <a:cs typeface="+mn-cs"/>
              </a:rPr>
              <a:t>0.4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  <a:cs typeface="+mn-cs"/>
            </a:endParaRPr>
          </a:p>
        </p:txBody>
      </p:sp>
      <p:sp>
        <p:nvSpPr>
          <p:cNvPr id="3096" name="テキスト ボックス 39"/>
          <p:cNvSpPr txBox="1">
            <a:spLocks noChangeArrowheads="1"/>
          </p:cNvSpPr>
          <p:nvPr/>
        </p:nvSpPr>
        <p:spPr bwMode="auto">
          <a:xfrm>
            <a:off x="5029200" y="-1436688"/>
            <a:ext cx="4191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  <a:cs typeface="+mn-cs"/>
              </a:rPr>
              <a:t>0.4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  <a:cs typeface="+mn-cs"/>
            </a:endParaRPr>
          </a:p>
        </p:txBody>
      </p:sp>
      <p:sp>
        <p:nvSpPr>
          <p:cNvPr id="3097" name="テキスト ボックス 40"/>
          <p:cNvSpPr txBox="1">
            <a:spLocks noChangeArrowheads="1"/>
          </p:cNvSpPr>
          <p:nvPr/>
        </p:nvSpPr>
        <p:spPr bwMode="auto">
          <a:xfrm>
            <a:off x="5961063" y="-1436688"/>
            <a:ext cx="4191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  <a:cs typeface="+mn-cs"/>
              </a:rPr>
              <a:t>3.0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  <a:cs typeface="+mn-cs"/>
            </a:endParaRPr>
          </a:p>
        </p:txBody>
      </p:sp>
      <p:sp>
        <p:nvSpPr>
          <p:cNvPr id="3098" name="テキスト ボックス 41"/>
          <p:cNvSpPr txBox="1">
            <a:spLocks noChangeArrowheads="1"/>
          </p:cNvSpPr>
          <p:nvPr/>
        </p:nvSpPr>
        <p:spPr bwMode="auto">
          <a:xfrm>
            <a:off x="8569325" y="-1436688"/>
            <a:ext cx="48736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  <a:cs typeface="+mn-cs"/>
              </a:rPr>
              <a:t>10.2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  <a:cs typeface="+mn-cs"/>
            </a:endParaRPr>
          </a:p>
        </p:txBody>
      </p:sp>
      <p:sp>
        <p:nvSpPr>
          <p:cNvPr id="3099" name="テキスト ボックス 42"/>
          <p:cNvSpPr txBox="1">
            <a:spLocks noChangeArrowheads="1"/>
          </p:cNvSpPr>
          <p:nvPr/>
        </p:nvSpPr>
        <p:spPr bwMode="auto">
          <a:xfrm>
            <a:off x="9721850" y="-1436688"/>
            <a:ext cx="48736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  <a:cs typeface="+mn-cs"/>
              </a:rPr>
              <a:t>13.4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  <a:cs typeface="+mn-cs"/>
            </a:endParaRPr>
          </a:p>
        </p:txBody>
      </p:sp>
      <p:sp>
        <p:nvSpPr>
          <p:cNvPr id="3100" name="テキスト ボックス 43"/>
          <p:cNvSpPr txBox="1">
            <a:spLocks noChangeArrowheads="1"/>
          </p:cNvSpPr>
          <p:nvPr/>
        </p:nvSpPr>
        <p:spPr bwMode="auto">
          <a:xfrm>
            <a:off x="10874375" y="554038"/>
            <a:ext cx="4191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 algn="r"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  <a:cs typeface="+mn-cs"/>
              </a:rPr>
              <a:t>7.4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  <a:cs typeface="+mn-cs"/>
            </a:endParaRPr>
          </a:p>
        </p:txBody>
      </p:sp>
      <p:sp>
        <p:nvSpPr>
          <p:cNvPr id="3101" name="テキスト ボックス 44"/>
          <p:cNvSpPr txBox="1">
            <a:spLocks noChangeArrowheads="1"/>
          </p:cNvSpPr>
          <p:nvPr/>
        </p:nvSpPr>
        <p:spPr bwMode="auto">
          <a:xfrm>
            <a:off x="10874375" y="1022350"/>
            <a:ext cx="4191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 algn="r"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  <a:cs typeface="+mn-cs"/>
              </a:rPr>
              <a:t>6.0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  <a:cs typeface="+mn-cs"/>
            </a:endParaRPr>
          </a:p>
        </p:txBody>
      </p:sp>
      <p:sp>
        <p:nvSpPr>
          <p:cNvPr id="3102" name="テキスト ボックス 45"/>
          <p:cNvSpPr txBox="1">
            <a:spLocks noChangeArrowheads="1"/>
          </p:cNvSpPr>
          <p:nvPr/>
        </p:nvSpPr>
        <p:spPr bwMode="auto">
          <a:xfrm>
            <a:off x="10874375" y="1420813"/>
            <a:ext cx="4191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 algn="r"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  <a:cs typeface="+mn-cs"/>
              </a:rPr>
              <a:t>5.6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  <a:cs typeface="+mn-cs"/>
            </a:endParaRPr>
          </a:p>
        </p:txBody>
      </p:sp>
      <p:sp>
        <p:nvSpPr>
          <p:cNvPr id="3103" name="テキスト ボックス 46"/>
          <p:cNvSpPr txBox="1">
            <a:spLocks noChangeArrowheads="1"/>
          </p:cNvSpPr>
          <p:nvPr/>
        </p:nvSpPr>
        <p:spPr bwMode="auto">
          <a:xfrm>
            <a:off x="10874375" y="5445125"/>
            <a:ext cx="4191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 algn="r"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  <a:cs typeface="+mn-cs"/>
              </a:rPr>
              <a:t>5.6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  <a:cs typeface="+mn-cs"/>
            </a:endParaRPr>
          </a:p>
        </p:txBody>
      </p:sp>
      <p:sp>
        <p:nvSpPr>
          <p:cNvPr id="3104" name="テキスト ボックス 47"/>
          <p:cNvSpPr txBox="1">
            <a:spLocks noChangeArrowheads="1"/>
          </p:cNvSpPr>
          <p:nvPr/>
        </p:nvSpPr>
        <p:spPr bwMode="auto">
          <a:xfrm>
            <a:off x="10874375" y="6669088"/>
            <a:ext cx="4191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 algn="r"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  <a:cs typeface="+mn-cs"/>
              </a:rPr>
              <a:t>9.0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74" r:id="rId1"/>
    <p:sldLayoutId id="2147484575" r:id="rId2"/>
    <p:sldLayoutId id="2147484576" r:id="rId3"/>
    <p:sldLayoutId id="2147484577" r:id="rId4"/>
    <p:sldLayoutId id="2147484578" r:id="rId5"/>
    <p:sldLayoutId id="2147484579" r:id="rId6"/>
    <p:sldLayoutId id="2147484621" r:id="rId7"/>
    <p:sldLayoutId id="2147484622" r:id="rId8"/>
    <p:sldLayoutId id="2147484623" r:id="rId9"/>
    <p:sldLayoutId id="2147484624" r:id="rId10"/>
    <p:sldLayoutId id="2147484657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Segoe UI" panose="020B0502040204020203" pitchFamily="34" charset="0"/>
          <a:ea typeface="メイリオ" panose="020B0604030504040204" pitchFamily="50" charset="-128"/>
          <a:cs typeface="Segoe UI" panose="020B0502040204020203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Segoe UI" panose="020B0502040204020203" pitchFamily="34" charset="0"/>
          <a:ea typeface="メイリオ" panose="020B0604030504040204" pitchFamily="50" charset="-128"/>
          <a:cs typeface="Segoe UI" panose="020B0502040204020203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Segoe UI" panose="020B0502040204020203" pitchFamily="34" charset="0"/>
          <a:ea typeface="メイリオ" panose="020B0604030504040204" pitchFamily="50" charset="-128"/>
          <a:cs typeface="Segoe UI" panose="020B0502040204020203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Segoe UI" panose="020B0502040204020203" pitchFamily="34" charset="0"/>
          <a:ea typeface="メイリオ" panose="020B0604030504040204" pitchFamily="50" charset="-128"/>
          <a:cs typeface="Segoe UI" panose="020B0502040204020203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Segoe UI" panose="020B0502040204020203" pitchFamily="34" charset="0"/>
          <a:ea typeface="メイリオ" panose="020B0604030504040204" pitchFamily="50" charset="-128"/>
          <a:cs typeface="Segoe UI" panose="020B0502040204020203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kumimoji="1" sz="1600">
          <a:solidFill>
            <a:schemeClr val="tx1"/>
          </a:solidFill>
          <a:latin typeface="Segoe UI" panose="020B0502040204020203" pitchFamily="34" charset="0"/>
          <a:ea typeface="メイリオ" panose="020B0604030504040204" pitchFamily="50" charset="-128"/>
          <a:cs typeface="Segoe UI" panose="020B0502040204020203" pitchFamily="34" charset="0"/>
        </a:defRPr>
      </a:lvl1pPr>
      <a:lvl2pPr marL="446088" indent="-17621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–"/>
        <a:defRPr kumimoji="1" sz="14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808038" indent="-18256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•"/>
        <a:defRPr kumimoji="1" sz="1600">
          <a:solidFill>
            <a:schemeClr val="tx1"/>
          </a:solidFill>
          <a:latin typeface="Times New Roman" pitchFamily="18" charset="0"/>
          <a:ea typeface="+mn-ea"/>
          <a:cs typeface="メイリオ" panose="020B0604030504040204" pitchFamily="50" charset="-128"/>
        </a:defRPr>
      </a:lvl3pPr>
      <a:lvl4pPr marL="1163638" indent="-17621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Font typeface="Arial" panose="020B0604020202020204" pitchFamily="34" charset="0"/>
        <a:buChar char="»"/>
        <a:defRPr kumimoji="1" sz="1600">
          <a:solidFill>
            <a:schemeClr val="tx1"/>
          </a:solidFill>
          <a:latin typeface="Times New Roman" pitchFamily="18" charset="0"/>
          <a:ea typeface="+mn-ea"/>
          <a:cs typeface="メイリオ" panose="020B0604030504040204" pitchFamily="50" charset="-128"/>
        </a:defRPr>
      </a:lvl4pPr>
      <a:lvl5pPr marL="1525588" indent="-18256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Font typeface="Wingdings" panose="05000000000000000000" pitchFamily="2" charset="2"/>
        <a:buChar char="w"/>
        <a:defRPr kumimoji="1" sz="1600">
          <a:solidFill>
            <a:schemeClr val="tx1"/>
          </a:solidFill>
          <a:latin typeface="Times New Roman" pitchFamily="18" charset="0"/>
          <a:ea typeface="+mn-ea"/>
          <a:cs typeface="メイリオ" panose="020B0604030504040204" pitchFamily="50" charset="-128"/>
        </a:defRPr>
      </a:lvl5pPr>
      <a:lvl6pPr marL="1982788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buChar char="w"/>
        <a:defRPr kumimoji="1" sz="1600">
          <a:solidFill>
            <a:schemeClr val="tx1"/>
          </a:solidFill>
          <a:latin typeface="Times New Roman" pitchFamily="18" charset="0"/>
          <a:ea typeface="+mn-ea"/>
        </a:defRPr>
      </a:lvl6pPr>
      <a:lvl7pPr marL="2439988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buChar char="w"/>
        <a:defRPr kumimoji="1" sz="1600">
          <a:solidFill>
            <a:schemeClr val="tx1"/>
          </a:solidFill>
          <a:latin typeface="Times New Roman" pitchFamily="18" charset="0"/>
          <a:ea typeface="+mn-ea"/>
        </a:defRPr>
      </a:lvl7pPr>
      <a:lvl8pPr marL="2897188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buChar char="w"/>
        <a:defRPr kumimoji="1" sz="1600">
          <a:solidFill>
            <a:schemeClr val="tx1"/>
          </a:solidFill>
          <a:latin typeface="Times New Roman" pitchFamily="18" charset="0"/>
          <a:ea typeface="+mn-ea"/>
        </a:defRPr>
      </a:lvl8pPr>
      <a:lvl9pPr marL="3354388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buChar char="w"/>
        <a:defRPr kumimoji="1" sz="1600">
          <a:solidFill>
            <a:schemeClr val="tx1"/>
          </a:solidFill>
          <a:latin typeface="Times New Roman" pitchFamily="18" charset="0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オブジェクト 3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オブジェクト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gray">
          <a:xfrm>
            <a:off x="417513" y="136525"/>
            <a:ext cx="9070975" cy="652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キーメッセージを入力（本スライドで一番伝えたいこと＜名詞止め・体言止め不可＞）</a:t>
            </a:r>
            <a:endParaRPr lang="en-US" altLang="ja-JP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513" y="6588125"/>
            <a:ext cx="179387" cy="169863"/>
          </a:xfrm>
          <a:prstGeom prst="rect">
            <a:avLst/>
          </a:prstGeom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9E5B04C-44E3-4168-B24A-422A6A95267E}" type="slidenum">
              <a:rPr lang="ja-JP" altLang="en-US"/>
              <a:pPr/>
              <a:t>‹#›</a:t>
            </a:fld>
            <a:endParaRPr lang="ja-JP" altLang="en-US"/>
          </a:p>
        </p:txBody>
      </p:sp>
      <p:sp>
        <p:nvSpPr>
          <p:cNvPr id="3077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513" y="1476375"/>
            <a:ext cx="4356100" cy="4824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1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80" r:id="rId1"/>
    <p:sldLayoutId id="2147484581" r:id="rId2"/>
    <p:sldLayoutId id="2147484582" r:id="rId3"/>
    <p:sldLayoutId id="2147484583" r:id="rId4"/>
    <p:sldLayoutId id="2147484584" r:id="rId5"/>
    <p:sldLayoutId id="2147484585" r:id="rId6"/>
    <p:sldLayoutId id="2147484586" r:id="rId7"/>
    <p:sldLayoutId id="2147484587" r:id="rId8"/>
    <p:sldLayoutId id="2147484588" r:id="rId9"/>
    <p:sldLayoutId id="2147484625" r:id="rId10"/>
    <p:sldLayoutId id="2147484626" r:id="rId11"/>
    <p:sldLayoutId id="2147484627" r:id="rId12"/>
  </p:sldLayoutIdLst>
  <p:hf hdr="0" dt="0"/>
  <p:txStyles>
    <p:titleStyle>
      <a:lvl1pPr algn="l" defTabSz="989013" rtl="0" eaLnBrk="0" fontAlgn="base" hangingPunct="0">
        <a:spcBef>
          <a:spcPct val="0"/>
        </a:spcBef>
        <a:spcAft>
          <a:spcPct val="0"/>
        </a:spcAft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89013" rtl="0" eaLnBrk="0" fontAlgn="base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2pPr>
      <a:lvl3pPr algn="l" defTabSz="989013" rtl="0" eaLnBrk="0" fontAlgn="base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3pPr>
      <a:lvl4pPr algn="l" defTabSz="989013" rtl="0" eaLnBrk="0" fontAlgn="base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4pPr>
      <a:lvl5pPr algn="l" defTabSz="989013" rtl="0" eaLnBrk="0" fontAlgn="base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5pPr>
      <a:lvl6pPr marL="457200" algn="l" defTabSz="989013" rtl="0" fontAlgn="base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6pPr>
      <a:lvl7pPr marL="914400" algn="l" defTabSz="989013" rtl="0" fontAlgn="base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7pPr>
      <a:lvl8pPr marL="1371600" algn="l" defTabSz="989013" rtl="0" fontAlgn="base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8pPr>
      <a:lvl9pPr marL="1828800" algn="l" defTabSz="989013" rtl="0" fontAlgn="base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9pPr>
    </p:titleStyle>
    <p:bodyStyle>
      <a:lvl1pPr marL="342900" indent="-342900" algn="l" defTabSz="989013" rtl="0" eaLnBrk="0" fontAlgn="base" hangingPunct="0">
        <a:lnSpc>
          <a:spcPct val="106000"/>
        </a:lnSpc>
        <a:spcBef>
          <a:spcPts val="1050"/>
        </a:spcBef>
        <a:spcAft>
          <a:spcPct val="0"/>
        </a:spcAft>
        <a:buSzPct val="100000"/>
        <a:buFont typeface="Arial" panose="020B0604020202020204" pitchFamily="34" charset="0"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89013" rtl="0" eaLnBrk="0" fontAlgn="base" hangingPunct="0">
        <a:lnSpc>
          <a:spcPct val="106000"/>
        </a:lnSpc>
        <a:spcBef>
          <a:spcPts val="1050"/>
        </a:spcBef>
        <a:spcAft>
          <a:spcPct val="0"/>
        </a:spcAft>
        <a:buSzPct val="100000"/>
        <a:buFont typeface="Wingdings" panose="05000000000000000000" pitchFamily="2" charset="2"/>
        <a:buChar char="n"/>
        <a:defRPr kumimoji="1"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71450" algn="l" defTabSz="989013" rtl="0" eaLnBrk="0" fontAlgn="base" hangingPunct="0">
        <a:lnSpc>
          <a:spcPct val="106000"/>
        </a:lnSpc>
        <a:spcBef>
          <a:spcPts val="475"/>
        </a:spcBef>
        <a:spcAft>
          <a:spcPct val="0"/>
        </a:spcAft>
        <a:buSzPct val="100000"/>
        <a:buFont typeface="Wingdings" panose="05000000000000000000" pitchFamily="2" charset="2"/>
        <a:buChar char="Ø"/>
        <a:defRPr kumimoji="1"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71450" algn="l" defTabSz="989013" rtl="0" eaLnBrk="0" fontAlgn="base" hangingPunct="0">
        <a:lnSpc>
          <a:spcPct val="106000"/>
        </a:lnSpc>
        <a:spcBef>
          <a:spcPts val="238"/>
        </a:spcBef>
        <a:spcAft>
          <a:spcPct val="0"/>
        </a:spcAft>
        <a:buSzPct val="100000"/>
        <a:buFont typeface="Arial" panose="020B0604020202020204" pitchFamily="34" charset="0"/>
        <a:buChar char="•"/>
        <a:defRPr kumimoji="1"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576263" indent="-190500" algn="l" defTabSz="863600" rtl="0" eaLnBrk="0" fontAlgn="base" hangingPunct="0">
        <a:spcBef>
          <a:spcPct val="0"/>
        </a:spcBef>
        <a:spcAft>
          <a:spcPts val="1088"/>
        </a:spcAft>
        <a:buSzPct val="100000"/>
        <a:buFont typeface="Verdana" panose="020B0604030504040204" pitchFamily="34" charset="0"/>
        <a:buChar char="−"/>
        <a:defRPr kumimoji="1" lang="en-US" sz="11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タイトル プレースホルダー 1"/>
          <p:cNvSpPr>
            <a:spLocks noGrp="1"/>
          </p:cNvSpPr>
          <p:nvPr>
            <p:ph type="title"/>
          </p:nvPr>
        </p:nvSpPr>
        <p:spPr bwMode="auto">
          <a:xfrm>
            <a:off x="495313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タイトルの書式設定</a:t>
            </a:r>
          </a:p>
        </p:txBody>
      </p:sp>
      <p:sp>
        <p:nvSpPr>
          <p:cNvPr id="4099" name="テキスト プレースホルダー 2"/>
          <p:cNvSpPr>
            <a:spLocks noGrp="1"/>
          </p:cNvSpPr>
          <p:nvPr>
            <p:ph type="body" idx="1"/>
          </p:nvPr>
        </p:nvSpPr>
        <p:spPr bwMode="auto">
          <a:xfrm>
            <a:off x="495313" y="1600216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95305" y="6356708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8">
                <a:solidFill>
                  <a:prstClr val="black">
                    <a:tint val="75000"/>
                  </a:prstClr>
                </a:solidFill>
                <a:latin typeface="Calibri"/>
                <a:ea typeface="ＭＳ Ｐゴシック"/>
              </a:defRPr>
            </a:lvl1pPr>
          </a:lstStyle>
          <a:p>
            <a:pPr>
              <a:defRPr/>
            </a:pPr>
            <a:r>
              <a:rPr lang="en-US" altLang="ja-JP"/>
              <a:t>2018</a:t>
            </a:r>
            <a:r>
              <a:rPr lang="ja-JP" altLang="en-US"/>
              <a:t>年</a:t>
            </a:r>
            <a:r>
              <a:rPr lang="en-US" altLang="ja-JP"/>
              <a:t>1</a:t>
            </a:r>
            <a:r>
              <a:rPr lang="ja-JP" altLang="en-US"/>
              <a:t>月</a:t>
            </a:r>
            <a:r>
              <a:rPr lang="en-US" altLang="ja-JP"/>
              <a:t>10</a:t>
            </a:r>
            <a:r>
              <a:rPr lang="ja-JP" altLang="en-US"/>
              <a:t>日 第一回</a:t>
            </a:r>
            <a:r>
              <a:rPr lang="en-US" altLang="ja-JP"/>
              <a:t>ESG</a:t>
            </a:r>
            <a:r>
              <a:rPr lang="ja-JP" altLang="en-US"/>
              <a:t>金融懇談会末吉様提出資料より</a:t>
            </a:r>
            <a:endParaRPr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384567" y="6356708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108">
                <a:solidFill>
                  <a:prstClr val="black">
                    <a:tint val="75000"/>
                  </a:prstClr>
                </a:solidFill>
                <a:latin typeface="Calibri"/>
                <a:ea typeface="ＭＳ Ｐゴシック"/>
              </a:defRPr>
            </a:lvl1pPr>
          </a:lstStyle>
          <a:p>
            <a:pPr>
              <a:defRPr/>
            </a:pPr>
            <a:r>
              <a:rPr lang="ja-JP" altLang="en-US"/>
              <a:t>カーボン・ディスラプションに備えよ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190216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2" r:id="rId1"/>
    <p:sldLayoutId id="2147484603" r:id="rId2"/>
    <p:sldLayoutId id="2147484604" r:id="rId3"/>
    <p:sldLayoutId id="2147484605" r:id="rId4"/>
    <p:sldLayoutId id="2147484606" r:id="rId5"/>
    <p:sldLayoutId id="2147484607" r:id="rId6"/>
    <p:sldLayoutId id="2147484608" r:id="rId7"/>
    <p:sldLayoutId id="2147484609" r:id="rId8"/>
    <p:sldLayoutId id="2147484610" r:id="rId9"/>
    <p:sldLayoutId id="2147484611" r:id="rId10"/>
    <p:sldLayoutId id="2147484612" r:id="rId11"/>
    <p:sldLayoutId id="2147484613" r:id="rId12"/>
    <p:sldLayoutId id="2147484614" r:id="rId13"/>
    <p:sldLayoutId id="2147484615" r:id="rId14"/>
    <p:sldLayoutId id="2147484616" r:id="rId15"/>
    <p:sldLayoutId id="2147484617" r:id="rId16"/>
    <p:sldLayoutId id="2147484618" r:id="rId17"/>
    <p:sldLayoutId id="2147484628" r:id="rId18"/>
    <p:sldLayoutId id="2147484629" r:id="rId1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062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5pPr>
      <a:lvl6pPr marL="422052" algn="ctr" rtl="0" fontAlgn="base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6pPr>
      <a:lvl7pPr marL="844104" algn="ctr" rtl="0" fontAlgn="base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7pPr>
      <a:lvl8pPr marL="1266156" algn="ctr" rtl="0" fontAlgn="base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8pPr>
      <a:lvl9pPr marL="1688207" algn="ctr" rtl="0" fontAlgn="base">
        <a:spcBef>
          <a:spcPct val="0"/>
        </a:spcBef>
        <a:spcAft>
          <a:spcPct val="0"/>
        </a:spcAft>
        <a:defRPr kumimoji="1" sz="4062">
          <a:solidFill>
            <a:schemeClr val="tx1"/>
          </a:solidFill>
          <a:latin typeface="Calibri" pitchFamily="34" charset="0"/>
          <a:ea typeface="ＭＳ Ｐゴシック" charset="-128"/>
        </a:defRPr>
      </a:lvl9pPr>
    </p:titleStyle>
    <p:bodyStyle>
      <a:lvl1pPr marL="316539" indent="-316539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2954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6378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2585" kern="1200">
          <a:solidFill>
            <a:schemeClr val="tx1"/>
          </a:solidFill>
          <a:latin typeface="+mn-lt"/>
          <a:ea typeface="+mn-ea"/>
          <a:cs typeface="+mn-cs"/>
        </a:defRPr>
      </a:lvl2pPr>
      <a:lvl3pPr marL="1055129" indent="-211026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7181" indent="-211026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9233" indent="-211026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1285" indent="-211026" algn="l" defTabSz="844104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6" indent="-211026" algn="l" defTabSz="844104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88" indent="-211026" algn="l" defTabSz="844104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440" indent="-211026" algn="l" defTabSz="844104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844104" rtl="0" eaLnBrk="1" latinLnBrk="0" hangingPunct="1">
        <a:defRPr kumimoji="1"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2052" algn="l" defTabSz="844104" rtl="0" eaLnBrk="1" latinLnBrk="0" hangingPunct="1">
        <a:defRPr kumimoji="1"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4104" algn="l" defTabSz="844104" rtl="0" eaLnBrk="1" latinLnBrk="0" hangingPunct="1">
        <a:defRPr kumimoji="1"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6156" algn="l" defTabSz="844104" rtl="0" eaLnBrk="1" latinLnBrk="0" hangingPunct="1">
        <a:defRPr kumimoji="1"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8207" algn="l" defTabSz="844104" rtl="0" eaLnBrk="1" latinLnBrk="0" hangingPunct="1">
        <a:defRPr kumimoji="1"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10259" algn="l" defTabSz="844104" rtl="0" eaLnBrk="1" latinLnBrk="0" hangingPunct="1">
        <a:defRPr kumimoji="1"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2311" algn="l" defTabSz="844104" rtl="0" eaLnBrk="1" latinLnBrk="0" hangingPunct="1">
        <a:defRPr kumimoji="1"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4363" algn="l" defTabSz="844104" rtl="0" eaLnBrk="1" latinLnBrk="0" hangingPunct="1">
        <a:defRPr kumimoji="1"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6415" algn="l" defTabSz="844104" rtl="0" eaLnBrk="1" latinLnBrk="0" hangingPunct="1">
        <a:defRPr kumimoji="1"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C12CC1-C848-4AB9-BCC3-8DFDBA9EC38E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51A726-C94B-419D-AB33-3ED000D7AEF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87932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9" r:id="rId1"/>
    <p:sldLayoutId id="2147484660" r:id="rId2"/>
    <p:sldLayoutId id="2147484661" r:id="rId3"/>
    <p:sldLayoutId id="2147484662" r:id="rId4"/>
    <p:sldLayoutId id="2147484663" r:id="rId5"/>
    <p:sldLayoutId id="2147484664" r:id="rId6"/>
    <p:sldLayoutId id="2147484665" r:id="rId7"/>
    <p:sldLayoutId id="2147484666" r:id="rId8"/>
    <p:sldLayoutId id="2147484667" r:id="rId9"/>
    <p:sldLayoutId id="2147484668" r:id="rId10"/>
    <p:sldLayoutId id="2147484669" r:id="rId11"/>
    <p:sldLayoutId id="2147484670" r:id="rId12"/>
    <p:sldLayoutId id="2147484671" r:id="rId13"/>
  </p:sldLayoutIdLst>
  <p:hf hdr="0" ft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kumimoji="1"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kumimoji="1"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9.wmf"/><Relationship Id="rId5" Type="http://schemas.openxmlformats.org/officeDocument/2006/relationships/image" Target="../media/image8.png"/><Relationship Id="rId10" Type="http://schemas.openxmlformats.org/officeDocument/2006/relationships/image" Target="../media/image13.jpeg"/><Relationship Id="rId4" Type="http://schemas.openxmlformats.org/officeDocument/2006/relationships/image" Target="../media/image7.wmf"/><Relationship Id="rId9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5.png"/><Relationship Id="rId7" Type="http://schemas.openxmlformats.org/officeDocument/2006/relationships/image" Target="../media/image17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3.xml"/><Relationship Id="rId6" Type="http://schemas.microsoft.com/office/2007/relationships/hdphoto" Target="../media/hdphoto2.wdp"/><Relationship Id="rId5" Type="http://schemas.openxmlformats.org/officeDocument/2006/relationships/image" Target="../media/image16.png"/><Relationship Id="rId10" Type="http://schemas.openxmlformats.org/officeDocument/2006/relationships/image" Target="../media/image20.png"/><Relationship Id="rId4" Type="http://schemas.microsoft.com/office/2007/relationships/hdphoto" Target="../media/hdphoto1.wdp"/><Relationship Id="rId9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6.jpe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2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0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44455"/>
            <a:ext cx="755651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462" name="正方形/長方形 6"/>
          <p:cNvSpPr>
            <a:spLocks noChangeArrowheads="1"/>
          </p:cNvSpPr>
          <p:nvPr/>
        </p:nvSpPr>
        <p:spPr bwMode="auto">
          <a:xfrm>
            <a:off x="2417132" y="7655798"/>
            <a:ext cx="3121087" cy="646331"/>
          </a:xfrm>
          <a:prstGeom prst="rect">
            <a:avLst/>
          </a:prstGeom>
          <a:solidFill>
            <a:srgbClr val="C6D9F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defTabSz="842963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742950" indent="-285750" defTabSz="842963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1143000" indent="-228600" defTabSz="842963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600200" indent="-228600" defTabSz="842963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2057400" indent="-228600" defTabSz="842963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defTabSz="8429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971800" indent="-228600" defTabSz="8429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429000" indent="-228600" defTabSz="8429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886200" indent="-228600" defTabSz="8429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実施期間：</a:t>
            </a:r>
            <a:r>
              <a:rPr lang="en-US" altLang="ja-JP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(1)</a:t>
            </a:r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平成</a:t>
            </a:r>
            <a:r>
              <a:rPr lang="en-US" altLang="ja-JP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27</a:t>
            </a:r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～</a:t>
            </a:r>
            <a:r>
              <a:rPr lang="en-US" altLang="ja-JP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31</a:t>
            </a:r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年度、</a:t>
            </a:r>
            <a:r>
              <a:rPr lang="en-US" altLang="ja-JP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(2)</a:t>
            </a:r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平成</a:t>
            </a:r>
            <a:r>
              <a:rPr lang="en-US" altLang="ja-JP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30</a:t>
            </a:r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～</a:t>
            </a:r>
            <a:r>
              <a:rPr lang="en-US" altLang="ja-JP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32</a:t>
            </a:r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年度</a:t>
            </a:r>
            <a:endParaRPr lang="en-US" altLang="ja-JP" sz="900" b="1" dirty="0">
              <a:solidFill>
                <a:srgbClr val="000000"/>
              </a:solidFill>
              <a:latin typeface="メイリオ" panose="020B0604030504040204" pitchFamily="50" charset="-128"/>
              <a:sym typeface="Wingdings" panose="05000000000000000000" pitchFamily="2" charset="2"/>
            </a:endParaRPr>
          </a:p>
          <a:p>
            <a:pPr eaLnBrk="1"/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　　　　　</a:t>
            </a:r>
            <a:r>
              <a:rPr lang="en-US" altLang="ja-JP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(3)</a:t>
            </a:r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平成</a:t>
            </a:r>
            <a:r>
              <a:rPr lang="en-US" altLang="ja-JP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28</a:t>
            </a:r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～</a:t>
            </a:r>
            <a:r>
              <a:rPr lang="en-US" altLang="ja-JP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31</a:t>
            </a:r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年度</a:t>
            </a:r>
            <a:endParaRPr lang="en-US" altLang="ja-JP" sz="900" b="1" dirty="0">
              <a:solidFill>
                <a:srgbClr val="000000"/>
              </a:solidFill>
              <a:latin typeface="メイリオ" panose="020B0604030504040204" pitchFamily="50" charset="-128"/>
              <a:sym typeface="Wingdings" panose="05000000000000000000" pitchFamily="2" charset="2"/>
            </a:endParaRPr>
          </a:p>
          <a:p>
            <a:pPr eaLnBrk="1"/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補助率：（</a:t>
            </a:r>
            <a:r>
              <a:rPr lang="en-US" altLang="ja-JP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1</a:t>
            </a:r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）</a:t>
            </a:r>
            <a:r>
              <a:rPr lang="en-US" altLang="ja-JP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3/4</a:t>
            </a:r>
            <a:r>
              <a:rPr lang="ja-JP" altLang="en-US" sz="900" b="1" dirty="0" err="1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、</a:t>
            </a:r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（</a:t>
            </a:r>
            <a:r>
              <a:rPr lang="en-US" altLang="ja-JP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2</a:t>
            </a:r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）</a:t>
            </a:r>
            <a:r>
              <a:rPr lang="en-US" altLang="ja-JP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2/3</a:t>
            </a:r>
            <a:r>
              <a:rPr lang="ja-JP" altLang="en-US" sz="900" b="1" dirty="0" err="1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、</a:t>
            </a:r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（</a:t>
            </a:r>
            <a:r>
              <a:rPr lang="en-US" altLang="ja-JP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3</a:t>
            </a:r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）</a:t>
            </a:r>
            <a:r>
              <a:rPr lang="en-US" altLang="ja-JP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1/3</a:t>
            </a:r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または</a:t>
            </a:r>
            <a:r>
              <a:rPr lang="en-US" altLang="ja-JP" sz="900" b="1" dirty="0">
                <a:solidFill>
                  <a:srgbClr val="000000"/>
                </a:solidFill>
                <a:latin typeface="メイリオ" panose="020B0604030504040204" pitchFamily="50" charset="-128"/>
                <a:sym typeface="Wingdings" panose="05000000000000000000" pitchFamily="2" charset="2"/>
              </a:rPr>
              <a:t>1/2</a:t>
            </a:r>
          </a:p>
          <a:p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</a:rPr>
              <a:t>担当課：水大気局　自動車課（</a:t>
            </a:r>
            <a:r>
              <a:rPr lang="en-US" altLang="ja-JP" sz="900" b="1" dirty="0">
                <a:solidFill>
                  <a:srgbClr val="000000"/>
                </a:solidFill>
                <a:latin typeface="メイリオ" panose="020B0604030504040204" pitchFamily="50" charset="-128"/>
              </a:rPr>
              <a:t>03-5521-8302</a:t>
            </a:r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</a:rPr>
              <a:t>）</a:t>
            </a:r>
            <a:endParaRPr lang="zh-TW" altLang="en-US" sz="900" b="1" dirty="0">
              <a:solidFill>
                <a:srgbClr val="000000"/>
              </a:solidFill>
              <a:latin typeface="メイリオ" panose="020B0604030504040204" pitchFamily="50" charset="-128"/>
            </a:endParaRPr>
          </a:p>
        </p:txBody>
      </p:sp>
      <p:sp>
        <p:nvSpPr>
          <p:cNvPr id="19464" name="正方形/長方形 6"/>
          <p:cNvSpPr>
            <a:spLocks noChangeArrowheads="1"/>
          </p:cNvSpPr>
          <p:nvPr/>
        </p:nvSpPr>
        <p:spPr bwMode="auto">
          <a:xfrm>
            <a:off x="723907" y="77790"/>
            <a:ext cx="793432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42963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742950" indent="-285750" defTabSz="842963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1143000" indent="-228600" defTabSz="842963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600200" indent="-228600" defTabSz="842963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2057400" indent="-228600" defTabSz="842963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defTabSz="8429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971800" indent="-228600" defTabSz="8429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429000" indent="-228600" defTabSz="8429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886200" indent="-228600" defTabSz="8429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spcAft>
                <a:spcPts val="275"/>
              </a:spcAft>
              <a:buClr>
                <a:srgbClr val="6F6F6F"/>
              </a:buClr>
            </a:pPr>
            <a:r>
              <a:rPr lang="ja-JP" altLang="en-US" sz="2400" b="1" dirty="0">
                <a:solidFill>
                  <a:srgbClr val="000000"/>
                </a:solidFill>
                <a:latin typeface="メイリオ" panose="020B0604030504040204" pitchFamily="50" charset="-128"/>
              </a:rPr>
              <a:t>再エネ水素を活用した社会インフラの低炭素化促進事業</a:t>
            </a:r>
            <a:r>
              <a:rPr lang="ja-JP" altLang="en-US" sz="1600" b="1" dirty="0">
                <a:solidFill>
                  <a:srgbClr val="000000"/>
                </a:solidFill>
                <a:latin typeface="メイリオ" panose="020B0604030504040204" pitchFamily="50" charset="-128"/>
              </a:rPr>
              <a:t>（一部国交省・経産省連携事業）</a:t>
            </a:r>
            <a:endParaRPr lang="en-US" altLang="ja-JP" sz="1600" b="1" dirty="0">
              <a:solidFill>
                <a:srgbClr val="000000"/>
              </a:solidFill>
              <a:latin typeface="メイリオ" panose="020B0604030504040204" pitchFamily="50" charset="-128"/>
            </a:endParaRPr>
          </a:p>
        </p:txBody>
      </p:sp>
      <p:sp>
        <p:nvSpPr>
          <p:cNvPr id="54" name="正方形/長方形 6"/>
          <p:cNvSpPr>
            <a:spLocks noChangeArrowheads="1"/>
          </p:cNvSpPr>
          <p:nvPr/>
        </p:nvSpPr>
        <p:spPr bwMode="auto">
          <a:xfrm>
            <a:off x="-746696" y="7065598"/>
            <a:ext cx="6360668" cy="623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9pPr>
          </a:lstStyle>
          <a:p>
            <a:pPr algn="r" defTabSz="844062" eaLnBrk="1" hangingPunct="1">
              <a:spcBef>
                <a:spcPct val="0"/>
              </a:spcBef>
              <a:spcAft>
                <a:spcPts val="277"/>
              </a:spcAft>
              <a:buClr>
                <a:srgbClr val="6F6F6F"/>
              </a:buClr>
              <a:buNone/>
              <a:defRPr/>
            </a:pP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平成</a:t>
            </a:r>
            <a:r>
              <a:rPr lang="en-US" altLang="ja-JP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30</a:t>
            </a: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年度予算案</a:t>
            </a:r>
            <a:r>
              <a:rPr lang="en-US" altLang="ja-JP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25.7</a:t>
            </a: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億円</a:t>
            </a:r>
            <a:endParaRPr lang="en-US" altLang="ja-JP" sz="200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r" defTabSz="844062" eaLnBrk="1" hangingPunct="1">
              <a:spcBef>
                <a:spcPct val="0"/>
              </a:spcBef>
              <a:spcAft>
                <a:spcPts val="277"/>
              </a:spcAft>
              <a:buClr>
                <a:srgbClr val="6F6F6F"/>
              </a:buClr>
              <a:buNone/>
              <a:defRPr/>
            </a:pPr>
            <a:r>
              <a:rPr lang="ja-JP" altLang="en-US" sz="12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（平成</a:t>
            </a:r>
            <a:r>
              <a:rPr lang="en-US" altLang="ja-JP" sz="12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29</a:t>
            </a:r>
            <a:r>
              <a:rPr lang="ja-JP" altLang="en-US" sz="12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年度予算額</a:t>
            </a:r>
            <a:r>
              <a:rPr lang="en-US" altLang="ja-JP" sz="12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10</a:t>
            </a:r>
            <a:r>
              <a:rPr lang="ja-JP" altLang="en-US" sz="12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億円）</a:t>
            </a:r>
            <a:endParaRPr lang="en-US" altLang="ja-JP" sz="120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56" name="テキスト ボックス 55"/>
          <p:cNvSpPr txBox="1"/>
          <p:nvPr/>
        </p:nvSpPr>
        <p:spPr>
          <a:xfrm>
            <a:off x="9217025" y="6539851"/>
            <a:ext cx="6309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b="1" dirty="0">
                <a:solidFill>
                  <a:schemeClr val="bg1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１</a:t>
            </a:r>
          </a:p>
        </p:txBody>
      </p:sp>
      <p:sp>
        <p:nvSpPr>
          <p:cNvPr id="57" name="正方形/長方形 56"/>
          <p:cNvSpPr/>
          <p:nvPr/>
        </p:nvSpPr>
        <p:spPr>
          <a:xfrm>
            <a:off x="811238" y="785971"/>
            <a:ext cx="1816071" cy="399424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b="1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施策番号：</a:t>
            </a:r>
            <a:r>
              <a:rPr lang="en-US" altLang="ja-JP" b="1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62</a:t>
            </a:r>
            <a:endParaRPr lang="ja-JP" altLang="en-US" b="1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55" name="正方形/長方形 6"/>
          <p:cNvSpPr>
            <a:spLocks noChangeArrowheads="1"/>
          </p:cNvSpPr>
          <p:nvPr/>
        </p:nvSpPr>
        <p:spPr bwMode="auto">
          <a:xfrm>
            <a:off x="3664612" y="461642"/>
            <a:ext cx="6314728" cy="1228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9pPr>
          </a:lstStyle>
          <a:p>
            <a:pPr defTabSz="844062" eaLnBrk="1" hangingPunct="1">
              <a:lnSpc>
                <a:spcPts val="1700"/>
              </a:lnSpc>
              <a:spcBef>
                <a:spcPct val="0"/>
              </a:spcBef>
              <a:spcAft>
                <a:spcPts val="277"/>
              </a:spcAft>
              <a:buClr>
                <a:srgbClr val="6F6F6F"/>
              </a:buClr>
              <a:buNone/>
              <a:defRPr/>
            </a:pP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平成</a:t>
            </a:r>
            <a:r>
              <a:rPr lang="en-US" altLang="ja-JP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30</a:t>
            </a: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度予算案</a:t>
            </a:r>
            <a:r>
              <a:rPr lang="en-US" altLang="ja-JP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5.7</a:t>
            </a: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億円</a:t>
            </a:r>
            <a:r>
              <a:rPr lang="ja-JP" altLang="en-US" sz="12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（平成</a:t>
            </a:r>
            <a:r>
              <a:rPr lang="en-US" altLang="ja-JP" sz="12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9</a:t>
            </a:r>
            <a:r>
              <a:rPr lang="ja-JP" altLang="en-US" sz="12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度予算額</a:t>
            </a:r>
            <a:r>
              <a:rPr lang="en-US" altLang="ja-JP" sz="12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10</a:t>
            </a:r>
            <a:r>
              <a:rPr lang="ja-JP" altLang="en-US" sz="12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億円）</a:t>
            </a:r>
            <a:endParaRPr lang="en-US" altLang="ja-JP" sz="120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>
              <a:lnSpc>
                <a:spcPts val="1700"/>
              </a:lnSpc>
              <a:buNone/>
            </a:pPr>
            <a:r>
              <a:rPr kumimoji="0" lang="zh-TW" altLang="en-US" sz="2000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実施期間：</a:t>
            </a:r>
            <a:r>
              <a:rPr lang="en-US" altLang="ja-JP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(1)</a:t>
            </a: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平成</a:t>
            </a:r>
            <a:r>
              <a:rPr lang="en-US" altLang="ja-JP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27</a:t>
            </a: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～</a:t>
            </a:r>
            <a:r>
              <a:rPr lang="en-US" altLang="ja-JP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31</a:t>
            </a: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年度、</a:t>
            </a:r>
            <a:r>
              <a:rPr lang="en-US" altLang="ja-JP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(2)</a:t>
            </a: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平成</a:t>
            </a:r>
            <a:r>
              <a:rPr lang="en-US" altLang="ja-JP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30</a:t>
            </a: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～</a:t>
            </a:r>
            <a:r>
              <a:rPr lang="en-US" altLang="ja-JP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32</a:t>
            </a: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年度</a:t>
            </a:r>
            <a:endParaRPr lang="en-US" altLang="ja-JP" sz="200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  <a:sym typeface="Wingdings" panose="05000000000000000000" pitchFamily="2" charset="2"/>
            </a:endParaRPr>
          </a:p>
          <a:p>
            <a:pPr eaLnBrk="1">
              <a:lnSpc>
                <a:spcPts val="2100"/>
              </a:lnSpc>
              <a:buNone/>
            </a:pP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　　　　　</a:t>
            </a:r>
            <a:r>
              <a:rPr lang="en-US" altLang="ja-JP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(3)</a:t>
            </a: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平成</a:t>
            </a:r>
            <a:r>
              <a:rPr lang="en-US" altLang="ja-JP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28</a:t>
            </a: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～</a:t>
            </a:r>
            <a:r>
              <a:rPr lang="en-US" altLang="ja-JP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31</a:t>
            </a: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年度</a:t>
            </a:r>
            <a:endParaRPr kumimoji="0" lang="zh-TW" altLang="en-US" sz="2000" kern="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  <a:sym typeface="Wingdings" panose="05000000000000000000" pitchFamily="2" charset="2"/>
            </a:endParaRPr>
          </a:p>
          <a:p>
            <a:pPr eaLnBrk="1" hangingPunct="1">
              <a:lnSpc>
                <a:spcPts val="2100"/>
              </a:lnSpc>
              <a:spcBef>
                <a:spcPct val="0"/>
              </a:spcBef>
              <a:buNone/>
            </a:pPr>
            <a:r>
              <a:rPr lang="ja-JP" altLang="en-US" sz="20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担当課：</a:t>
            </a: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水大気局　自動車課</a:t>
            </a:r>
            <a:r>
              <a:rPr lang="ja-JP" altLang="en-US" sz="12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（</a:t>
            </a:r>
            <a:r>
              <a:rPr lang="en-US" altLang="ja-JP" sz="12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03-5521-8302</a:t>
            </a:r>
            <a:r>
              <a:rPr lang="ja-JP" altLang="en-US" sz="12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）</a:t>
            </a:r>
            <a:endParaRPr lang="en-US" altLang="ja-JP" sz="120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grpSp>
        <p:nvGrpSpPr>
          <p:cNvPr id="58" name="グループ化 82"/>
          <p:cNvGrpSpPr>
            <a:grpSpLocks/>
          </p:cNvGrpSpPr>
          <p:nvPr/>
        </p:nvGrpSpPr>
        <p:grpSpPr bwMode="auto">
          <a:xfrm>
            <a:off x="92081" y="1571434"/>
            <a:ext cx="9694863" cy="2361627"/>
            <a:chOff x="84113" y="512692"/>
            <a:chExt cx="9692958" cy="1843705"/>
          </a:xfrm>
        </p:grpSpPr>
        <p:sp>
          <p:nvSpPr>
            <p:cNvPr id="59" name="角丸四角形 3"/>
            <p:cNvSpPr/>
            <p:nvPr/>
          </p:nvSpPr>
          <p:spPr>
            <a:xfrm>
              <a:off x="128554" y="776608"/>
              <a:ext cx="9648517" cy="1579789"/>
            </a:xfrm>
            <a:prstGeom prst="roundRect">
              <a:avLst>
                <a:gd name="adj" fmla="val 11444"/>
              </a:avLst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503987" indent="-539987">
                <a:defRPr/>
              </a:pPr>
              <a:r>
                <a:rPr lang="ja-JP" altLang="en-US" sz="1600" b="1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○水素の意義</a:t>
              </a:r>
              <a:endParaRPr lang="en-US" altLang="ja-JP" sz="1600" b="1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  <a:p>
              <a:pPr indent="-719982">
                <a:defRPr/>
              </a:pPr>
              <a:r>
                <a:rPr lang="ja-JP" altLang="en-US" sz="16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水素ステーションなどの新たな水素インフラ整備による産業振興</a:t>
              </a:r>
            </a:p>
            <a:p>
              <a:pPr indent="-719982">
                <a:defRPr/>
              </a:pPr>
              <a:r>
                <a:rPr lang="ja-JP" altLang="en-US" sz="16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水素エネルギー利用による災害に強い街づくり</a:t>
              </a:r>
            </a:p>
            <a:p>
              <a:pPr marL="503987" indent="-539987">
                <a:defRPr/>
              </a:pPr>
              <a:r>
                <a:rPr lang="ja-JP" altLang="en-US" sz="1600" b="1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○事業内容</a:t>
              </a:r>
              <a:endParaRPr lang="en-US" altLang="ja-JP" sz="1600" b="1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  <a:p>
              <a:pPr marL="503987" indent="-539987">
                <a:defRPr/>
              </a:pPr>
              <a:r>
                <a:rPr lang="ja-JP" altLang="en-US" sz="16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地方公共団体・民間企業等が実施する水素事業に補助。</a:t>
              </a:r>
              <a:endParaRPr lang="en-US" altLang="ja-JP" sz="16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  <a:p>
              <a:pPr>
                <a:defRPr/>
              </a:pPr>
              <a:r>
                <a:rPr lang="ja-JP" altLang="en-US" sz="16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（１）再エネ由来水素ステーション設置費用</a:t>
              </a:r>
              <a:endParaRPr lang="en-US" altLang="ja-JP" sz="16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  <a:p>
              <a:pPr marL="503987" indent="-539987">
                <a:defRPr/>
              </a:pPr>
              <a:r>
                <a:rPr lang="ja-JP" altLang="en-US" sz="16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（２）再エネ由来水素ステーション保守点検費用</a:t>
              </a:r>
              <a:endParaRPr lang="en-US" altLang="ja-JP" sz="16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  <a:p>
              <a:pPr marL="503987" indent="-539987">
                <a:defRPr/>
              </a:pPr>
              <a:r>
                <a:rPr lang="ja-JP" altLang="en-US" sz="16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（３）燃料電池バス及び燃料電池</a:t>
              </a:r>
              <a:r>
                <a:rPr lang="ja-JP" altLang="en-US" sz="1600" dirty="0">
                  <a:solidFill>
                    <a:schemeClr val="tx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フォークリフト導入</a:t>
              </a:r>
              <a:r>
                <a:rPr lang="ja-JP" altLang="en-US" sz="16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費用</a:t>
              </a:r>
              <a:endParaRPr lang="en-US" altLang="ja-JP" sz="16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60" name="正方形/長方形 2"/>
            <p:cNvSpPr>
              <a:spLocks noChangeArrowheads="1"/>
            </p:cNvSpPr>
            <p:nvPr/>
          </p:nvSpPr>
          <p:spPr bwMode="auto">
            <a:xfrm>
              <a:off x="84113" y="512692"/>
              <a:ext cx="6915378" cy="360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kumimoji="1" sz="32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50" charset="-128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kumimoji="1" sz="28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50" charset="-128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kumimoji="1" sz="24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50" charset="-128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kumimoji="1"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50" charset="-128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50" charset="-128"/>
                </a:defRPr>
              </a:lvl9pPr>
            </a:lstStyle>
            <a:p>
              <a:pPr defTabSz="844083" eaLnBrk="1" hangingPunct="1">
                <a:spcBef>
                  <a:spcPct val="0"/>
                </a:spcBef>
                <a:spcAft>
                  <a:spcPts val="277"/>
                </a:spcAft>
                <a:buClr>
                  <a:srgbClr val="6F6F6F"/>
                </a:buClr>
                <a:buNone/>
                <a:defRPr/>
              </a:pPr>
              <a:r>
                <a:rPr lang="ja-JP" altLang="en-US" sz="2400" b="1" dirty="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これからやってくる水素社会に先行投資！！</a:t>
              </a:r>
            </a:p>
          </p:txBody>
        </p:sp>
      </p:grpSp>
      <p:grpSp>
        <p:nvGrpSpPr>
          <p:cNvPr id="61" name="グループ化 60"/>
          <p:cNvGrpSpPr/>
          <p:nvPr/>
        </p:nvGrpSpPr>
        <p:grpSpPr>
          <a:xfrm>
            <a:off x="47626" y="4005066"/>
            <a:ext cx="9817100" cy="2773974"/>
            <a:chOff x="47625" y="3733800"/>
            <a:chExt cx="9817100" cy="3037676"/>
          </a:xfrm>
        </p:grpSpPr>
        <p:grpSp>
          <p:nvGrpSpPr>
            <p:cNvPr id="62" name="グループ化 7"/>
            <p:cNvGrpSpPr>
              <a:grpSpLocks/>
            </p:cNvGrpSpPr>
            <p:nvPr/>
          </p:nvGrpSpPr>
          <p:grpSpPr bwMode="auto">
            <a:xfrm>
              <a:off x="47625" y="3733800"/>
              <a:ext cx="9817100" cy="3037676"/>
              <a:chOff x="17463" y="4870449"/>
              <a:chExt cx="9327525" cy="2026188"/>
            </a:xfrm>
          </p:grpSpPr>
          <p:sp>
            <p:nvSpPr>
              <p:cNvPr id="67" name="正方形/長方形 66"/>
              <p:cNvSpPr/>
              <p:nvPr/>
            </p:nvSpPr>
            <p:spPr>
              <a:xfrm>
                <a:off x="17463" y="4870449"/>
                <a:ext cx="9327525" cy="2026188"/>
              </a:xfrm>
              <a:prstGeom prst="rect">
                <a:avLst/>
              </a:prstGeom>
              <a:noFill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ja-JP" altLang="en-US" sz="280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endParaRPr>
              </a:p>
            </p:txBody>
          </p:sp>
          <p:grpSp>
            <p:nvGrpSpPr>
              <p:cNvPr id="68" name="グループ化 82"/>
              <p:cNvGrpSpPr>
                <a:grpSpLocks/>
              </p:cNvGrpSpPr>
              <p:nvPr/>
            </p:nvGrpSpPr>
            <p:grpSpPr bwMode="auto">
              <a:xfrm>
                <a:off x="7918371" y="5287149"/>
                <a:ext cx="1415613" cy="836282"/>
                <a:chOff x="6670995" y="4312644"/>
                <a:chExt cx="2063989" cy="1168949"/>
              </a:xfrm>
            </p:grpSpPr>
            <p:pic>
              <p:nvPicPr>
                <p:cNvPr id="115" name="Picture 9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24272"/>
                <a:stretch>
                  <a:fillRect/>
                </a:stretch>
              </p:blipFill>
              <p:spPr bwMode="auto">
                <a:xfrm>
                  <a:off x="6934440" y="4483243"/>
                  <a:ext cx="1614139" cy="99835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sp>
              <p:nvSpPr>
                <p:cNvPr id="116" name="正方形/長方形 98"/>
                <p:cNvSpPr>
                  <a:spLocks noChangeArrowheads="1"/>
                </p:cNvSpPr>
                <p:nvPr/>
              </p:nvSpPr>
              <p:spPr bwMode="auto">
                <a:xfrm>
                  <a:off x="6670995" y="4312644"/>
                  <a:ext cx="2063989" cy="31423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1pPr>
                  <a:lvl2pPr marL="742950" indent="-285750"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2pPr>
                  <a:lvl3pPr marL="1143000" indent="-228600"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3pPr>
                  <a:lvl4pPr marL="1600200" indent="-228600"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4pPr>
                  <a:lvl5pPr marL="2057400" indent="-228600"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9pPr>
                </a:lstStyle>
                <a:p>
                  <a:pPr algn="ctr" eaLnBrk="1" hangingPunct="1"/>
                  <a:r>
                    <a:rPr lang="ja-JP" altLang="en-US" sz="1400">
                      <a:solidFill>
                        <a:srgbClr val="000000"/>
                      </a:solidFill>
                      <a:latin typeface="メイリオ" panose="020B0604030504040204" pitchFamily="50" charset="-128"/>
                    </a:rPr>
                    <a:t>燃料電池バス</a:t>
                  </a:r>
                </a:p>
              </p:txBody>
            </p:sp>
          </p:grpSp>
          <p:grpSp>
            <p:nvGrpSpPr>
              <p:cNvPr id="69" name="グループ化 84"/>
              <p:cNvGrpSpPr>
                <a:grpSpLocks/>
              </p:cNvGrpSpPr>
              <p:nvPr/>
            </p:nvGrpSpPr>
            <p:grpSpPr bwMode="auto">
              <a:xfrm>
                <a:off x="4893562" y="5349992"/>
                <a:ext cx="1542849" cy="925031"/>
                <a:chOff x="7007973" y="3005205"/>
                <a:chExt cx="2250756" cy="1290756"/>
              </a:xfrm>
            </p:grpSpPr>
            <p:sp>
              <p:nvSpPr>
                <p:cNvPr id="109" name="正方形/長方形 85"/>
                <p:cNvSpPr>
                  <a:spLocks noChangeArrowheads="1"/>
                </p:cNvSpPr>
                <p:nvPr/>
              </p:nvSpPr>
              <p:spPr bwMode="auto">
                <a:xfrm>
                  <a:off x="7007973" y="3005205"/>
                  <a:ext cx="1989401" cy="31369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1pPr>
                  <a:lvl2pPr marL="742950" indent="-285750"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2pPr>
                  <a:lvl3pPr marL="1143000" indent="-228600"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3pPr>
                  <a:lvl4pPr marL="1600200" indent="-228600"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4pPr>
                  <a:lvl5pPr marL="2057400" indent="-228600"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9pPr>
                </a:lstStyle>
                <a:p>
                  <a:pPr algn="ctr" eaLnBrk="1" hangingPunct="1"/>
                  <a:r>
                    <a:rPr lang="ja-JP" altLang="en-US" sz="1400">
                      <a:solidFill>
                        <a:srgbClr val="000000"/>
                      </a:solidFill>
                      <a:latin typeface="メイリオ" panose="020B0604030504040204" pitchFamily="50" charset="-128"/>
                    </a:rPr>
                    <a:t>燃料電池自動車</a:t>
                  </a:r>
                </a:p>
              </p:txBody>
            </p:sp>
            <p:grpSp>
              <p:nvGrpSpPr>
                <p:cNvPr id="110" name="グループ化 86"/>
                <p:cNvGrpSpPr>
                  <a:grpSpLocks/>
                </p:cNvGrpSpPr>
                <p:nvPr/>
              </p:nvGrpSpPr>
              <p:grpSpPr bwMode="auto">
                <a:xfrm>
                  <a:off x="7169885" y="3309691"/>
                  <a:ext cx="2088844" cy="986270"/>
                  <a:chOff x="4792252" y="5565387"/>
                  <a:chExt cx="2088844" cy="986270"/>
                </a:xfrm>
              </p:grpSpPr>
              <p:pic>
                <p:nvPicPr>
                  <p:cNvPr id="111" name="Picture 3" descr="D:\Temporary Internet Files\Temporary Internet Files\Content.IE5\OYSQUROI\MC900326690[1].wmf"/>
                  <p:cNvPicPr>
                    <a:picLocks noChangeAspect="1" noChangeArrowheads="1"/>
                  </p:cNvPicPr>
                  <p:nvPr/>
                </p:nvPicPr>
                <p:blipFill>
                  <a:blip r:embed="rId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792252" y="5565388"/>
                    <a:ext cx="1585442" cy="69635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grpSp>
                <p:nvGrpSpPr>
                  <p:cNvPr id="112" name="グループ化 2"/>
                  <p:cNvGrpSpPr>
                    <a:grpSpLocks/>
                  </p:cNvGrpSpPr>
                  <p:nvPr/>
                </p:nvGrpSpPr>
                <p:grpSpPr bwMode="auto">
                  <a:xfrm>
                    <a:off x="5272927" y="5565387"/>
                    <a:ext cx="1608169" cy="986270"/>
                    <a:chOff x="5561041" y="3197632"/>
                    <a:chExt cx="2588968" cy="1386823"/>
                  </a:xfrm>
                </p:grpSpPr>
                <p:pic>
                  <p:nvPicPr>
                    <p:cNvPr id="113" name="Picture 12" descr="D:\Temporary Internet Files\Temporary Internet Files\Content.IE5\9BNE0AE6\MC900441736[1].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5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5561041" y="3197632"/>
                      <a:ext cx="2588968" cy="1386823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  <p:sp>
                  <p:nvSpPr>
                    <p:cNvPr id="114" name="正方形/長方形 113"/>
                    <p:cNvSpPr/>
                    <p:nvPr/>
                  </p:nvSpPr>
                  <p:spPr>
                    <a:xfrm>
                      <a:off x="6290914" y="3439415"/>
                      <a:ext cx="1077387" cy="396980"/>
                    </a:xfrm>
                    <a:prstGeom prst="rect">
                      <a:avLst/>
                    </a:prstGeom>
                    <a:noFill/>
                  </p:spPr>
                  <p:txBody>
                    <a:bodyPr wrap="none">
                      <a:spAutoFit/>
                      <a:scene3d>
                        <a:camera prst="isometricLeftDown"/>
                        <a:lightRig rig="threePt" dir="t"/>
                      </a:scene3d>
                    </a:bodyPr>
                    <a:lstStyle/>
                    <a:p>
                      <a:pPr algn="ctr" eaLnBrk="1" hangingPunct="1">
                        <a:defRPr/>
                      </a:pPr>
                      <a:r>
                        <a:rPr lang="en-US" altLang="ja-JP" sz="1200" dirty="0">
                          <a:ln w="17780" cmpd="sng">
                            <a:solidFill>
                              <a:prstClr val="black"/>
                            </a:solidFill>
                            <a:prstDash val="solid"/>
                            <a:miter lim="800000"/>
                          </a:ln>
                          <a:gradFill rotWithShape="1">
                            <a:gsLst>
                              <a:gs pos="0">
                                <a:srgbClr val="000000">
                                  <a:tint val="92000"/>
                                  <a:shade val="100000"/>
                                  <a:satMod val="150000"/>
                                </a:srgbClr>
                              </a:gs>
                              <a:gs pos="49000">
                                <a:srgbClr val="000000">
                                  <a:tint val="89000"/>
                                  <a:shade val="90000"/>
                                  <a:satMod val="150000"/>
                                </a:srgbClr>
                              </a:gs>
                              <a:gs pos="50000">
                                <a:srgbClr val="000000">
                                  <a:tint val="100000"/>
                                  <a:shade val="75000"/>
                                  <a:satMod val="150000"/>
                                </a:srgbClr>
                              </a:gs>
                              <a:gs pos="95000">
                                <a:srgbClr val="000000">
                                  <a:shade val="47000"/>
                                  <a:satMod val="150000"/>
                                </a:srgbClr>
                              </a:gs>
                              <a:gs pos="100000">
                                <a:srgbClr val="000000">
                                  <a:shade val="39000"/>
                                  <a:satMod val="150000"/>
                                </a:srgbClr>
                              </a:gs>
                            </a:gsLst>
                            <a:lin ang="5400000"/>
                          </a:gradFill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FCV</a:t>
                      </a:r>
                      <a:endParaRPr lang="ja-JP" altLang="en-US" sz="1400" dirty="0">
                        <a:ln w="17780" cmpd="sng">
                          <a:solidFill>
                            <a:prstClr val="black"/>
                          </a:solidFill>
                          <a:prstDash val="solid"/>
                          <a:miter lim="800000"/>
                        </a:ln>
                        <a:gradFill rotWithShape="1">
                          <a:gsLst>
                            <a:gs pos="0">
                              <a:srgbClr val="000000">
                                <a:tint val="92000"/>
                                <a:shade val="100000"/>
                                <a:satMod val="150000"/>
                              </a:srgbClr>
                            </a:gs>
                            <a:gs pos="49000">
                              <a:srgbClr val="000000">
                                <a:tint val="89000"/>
                                <a:shade val="90000"/>
                                <a:satMod val="150000"/>
                              </a:srgbClr>
                            </a:gs>
                            <a:gs pos="50000">
                              <a:srgbClr val="000000">
                                <a:tint val="100000"/>
                                <a:shade val="75000"/>
                                <a:satMod val="150000"/>
                              </a:srgbClr>
                            </a:gs>
                            <a:gs pos="95000">
                              <a:srgbClr val="000000">
                                <a:shade val="47000"/>
                                <a:satMod val="150000"/>
                              </a:srgbClr>
                            </a:gs>
                            <a:gs pos="100000">
                              <a:srgbClr val="000000">
                                <a:shade val="39000"/>
                                <a:satMod val="150000"/>
                              </a:srgbClr>
                            </a:gs>
                          </a:gsLst>
                          <a:lin ang="5400000"/>
                        </a:gra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</p:grpSp>
            </p:grpSp>
          </p:grpSp>
          <p:sp>
            <p:nvSpPr>
              <p:cNvPr id="70" name="角丸四角形 77"/>
              <p:cNvSpPr>
                <a:spLocks noChangeArrowheads="1"/>
              </p:cNvSpPr>
              <p:nvPr/>
            </p:nvSpPr>
            <p:spPr bwMode="auto">
              <a:xfrm>
                <a:off x="984304" y="4907511"/>
                <a:ext cx="1018124" cy="313432"/>
              </a:xfrm>
              <a:prstGeom prst="roundRect">
                <a:avLst>
                  <a:gd name="adj" fmla="val 16667"/>
                </a:avLst>
              </a:prstGeom>
              <a:solidFill>
                <a:srgbClr val="00B0F0"/>
              </a:solidFill>
              <a:ln>
                <a:noFill/>
                <a:headEnd/>
                <a:tailEnd/>
              </a:ln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ctr" eaLnBrk="1" hangingPunct="1">
                  <a:defRPr/>
                </a:pPr>
                <a:r>
                  <a:rPr lang="ja-JP" altLang="en-US" sz="2400" b="1" dirty="0">
                    <a:solidFill>
                      <a:prstClr val="white"/>
                    </a:solidFill>
                    <a:latin typeface="メイリオ" panose="020B0604030504040204" pitchFamily="50" charset="-128"/>
                    <a:ea typeface="メイリオ" panose="020B0604030504040204" pitchFamily="50" charset="-128"/>
                    <a:cs typeface="メイリオ" panose="020B0604030504040204" pitchFamily="50" charset="-128"/>
                  </a:rPr>
                  <a:t>製造</a:t>
                </a:r>
              </a:p>
            </p:txBody>
          </p:sp>
          <p:sp>
            <p:nvSpPr>
              <p:cNvPr id="71" name="角丸四角形 79"/>
              <p:cNvSpPr>
                <a:spLocks noChangeArrowheads="1"/>
              </p:cNvSpPr>
              <p:nvPr/>
            </p:nvSpPr>
            <p:spPr bwMode="auto">
              <a:xfrm>
                <a:off x="6639041" y="4907511"/>
                <a:ext cx="1018125" cy="313432"/>
              </a:xfrm>
              <a:prstGeom prst="roundRect">
                <a:avLst>
                  <a:gd name="adj" fmla="val 16667"/>
                </a:avLst>
              </a:prstGeom>
              <a:solidFill>
                <a:srgbClr val="00B0F0"/>
              </a:solidFill>
              <a:ln>
                <a:noFill/>
                <a:headEnd/>
                <a:tailEnd/>
              </a:ln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ctr" eaLnBrk="1" hangingPunct="1">
                  <a:defRPr/>
                </a:pPr>
                <a:r>
                  <a:rPr lang="ja-JP" altLang="en-US" sz="2400" b="1" dirty="0">
                    <a:solidFill>
                      <a:prstClr val="white"/>
                    </a:solidFill>
                    <a:latin typeface="メイリオ" panose="020B0604030504040204" pitchFamily="50" charset="-128"/>
                    <a:ea typeface="メイリオ" panose="020B0604030504040204" pitchFamily="50" charset="-128"/>
                    <a:cs typeface="メイリオ" panose="020B0604030504040204" pitchFamily="50" charset="-128"/>
                  </a:rPr>
                  <a:t>利用</a:t>
                </a:r>
              </a:p>
            </p:txBody>
          </p:sp>
          <p:sp>
            <p:nvSpPr>
              <p:cNvPr id="74" name="右矢印 80"/>
              <p:cNvSpPr/>
              <p:nvPr/>
            </p:nvSpPr>
            <p:spPr bwMode="auto">
              <a:xfrm>
                <a:off x="2077845" y="4907511"/>
                <a:ext cx="4371146" cy="264723"/>
              </a:xfrm>
              <a:prstGeom prst="rightArrow">
                <a:avLst/>
              </a:prstGeom>
              <a:solidFill>
                <a:schemeClr val="bg1">
                  <a:lumMod val="65000"/>
                </a:schemeClr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72000" tIns="72000" rIns="72000" bIns="72000" anchor="ctr"/>
              <a:lstStyle/>
              <a:p>
                <a:pPr algn="ctr" eaLnBrk="1" hangingPunct="1">
                  <a:defRPr/>
                </a:pPr>
                <a:endParaRPr kumimoji="0" lang="ja-JP" altLang="en-US" sz="1400" kern="0" dirty="0">
                  <a:solidFill>
                    <a:sysClr val="windowText" lastClr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endParaRPr>
              </a:p>
            </p:txBody>
          </p:sp>
          <p:sp>
            <p:nvSpPr>
              <p:cNvPr id="75" name="右矢印 81"/>
              <p:cNvSpPr/>
              <p:nvPr/>
            </p:nvSpPr>
            <p:spPr bwMode="auto">
              <a:xfrm>
                <a:off x="3899910" y="5776861"/>
                <a:ext cx="1019632" cy="264723"/>
              </a:xfrm>
              <a:prstGeom prst="rightArrow">
                <a:avLst/>
              </a:prstGeom>
              <a:solidFill>
                <a:schemeClr val="bg1">
                  <a:lumMod val="65000"/>
                </a:schemeClr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72000" tIns="72000" rIns="72000" bIns="72000" anchor="ctr"/>
              <a:lstStyle/>
              <a:p>
                <a:pPr algn="ctr" eaLnBrk="1" hangingPunct="1">
                  <a:defRPr/>
                </a:pPr>
                <a:endParaRPr kumimoji="0" lang="ja-JP" altLang="en-US" sz="1400" kern="0" dirty="0">
                  <a:solidFill>
                    <a:sysClr val="windowText" lastClr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endParaRPr>
              </a:p>
            </p:txBody>
          </p:sp>
          <p:sp>
            <p:nvSpPr>
              <p:cNvPr id="77" name="円/楕円 75"/>
              <p:cNvSpPr>
                <a:spLocks noChangeAspect="1"/>
              </p:cNvSpPr>
              <p:nvPr/>
            </p:nvSpPr>
            <p:spPr bwMode="auto">
              <a:xfrm>
                <a:off x="2884803" y="5292948"/>
                <a:ext cx="535457" cy="286960"/>
              </a:xfrm>
              <a:prstGeom prst="ellipse">
                <a:avLst/>
              </a:prstGeom>
              <a:solidFill>
                <a:srgbClr val="00A1DE"/>
              </a:solidFill>
              <a:ln>
                <a:noFill/>
              </a:ln>
              <a:effectLst/>
            </p:spPr>
            <p:txBody>
              <a:bodyPr lIns="0" tIns="36000" rIns="0" bIns="36000" anchor="ctr"/>
              <a:lstStyle>
                <a:lvl1pPr eaLnBrk="0" hangingPunct="0">
                  <a:defRPr kumimoji="1">
                    <a:solidFill>
                      <a:schemeClr val="tx1"/>
                    </a:solidFill>
                    <a:latin typeface="Calibri" pitchFamily="34" charset="0"/>
                    <a:ea typeface="ＭＳ Ｐゴシック" pitchFamily="50" charset="-128"/>
                  </a:defRPr>
                </a:lvl1pPr>
                <a:lvl2pPr marL="742950" indent="-285750" eaLnBrk="0" hangingPunct="0">
                  <a:defRPr kumimoji="1">
                    <a:solidFill>
                      <a:schemeClr val="tx1"/>
                    </a:solidFill>
                    <a:latin typeface="Calibri" pitchFamily="34" charset="0"/>
                    <a:ea typeface="ＭＳ Ｐゴシック" pitchFamily="50" charset="-128"/>
                  </a:defRPr>
                </a:lvl2pPr>
                <a:lvl3pPr marL="1143000" indent="-228600" eaLnBrk="0" hangingPunct="0">
                  <a:defRPr kumimoji="1">
                    <a:solidFill>
                      <a:schemeClr val="tx1"/>
                    </a:solidFill>
                    <a:latin typeface="Calibri" pitchFamily="34" charset="0"/>
                    <a:ea typeface="ＭＳ Ｐゴシック" pitchFamily="50" charset="-128"/>
                  </a:defRPr>
                </a:lvl3pPr>
                <a:lvl4pPr marL="1600200" indent="-228600" eaLnBrk="0" hangingPunct="0">
                  <a:defRPr kumimoji="1">
                    <a:solidFill>
                      <a:schemeClr val="tx1"/>
                    </a:solidFill>
                    <a:latin typeface="Calibri" pitchFamily="34" charset="0"/>
                    <a:ea typeface="ＭＳ Ｐゴシック" pitchFamily="50" charset="-128"/>
                  </a:defRPr>
                </a:lvl4pPr>
                <a:lvl5pPr marL="2057400" indent="-228600" eaLnBrk="0" hangingPunct="0">
                  <a:defRPr kumimoji="1">
                    <a:solidFill>
                      <a:schemeClr val="tx1"/>
                    </a:solidFill>
                    <a:latin typeface="Calibri" pitchFamily="34" charset="0"/>
                    <a:ea typeface="ＭＳ Ｐゴシック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pitchFamily="34" charset="0"/>
                    <a:ea typeface="ＭＳ Ｐゴシック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pitchFamily="34" charset="0"/>
                    <a:ea typeface="ＭＳ Ｐゴシック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pitchFamily="34" charset="0"/>
                    <a:ea typeface="ＭＳ Ｐゴシック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pitchFamily="34" charset="0"/>
                    <a:ea typeface="ＭＳ Ｐゴシック" pitchFamily="50" charset="-128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altLang="ja-JP" b="1" kern="0" dirty="0">
                    <a:solidFill>
                      <a:srgbClr val="FFFFFF"/>
                    </a:solidFill>
                    <a:latin typeface="メイリオ" panose="020B0604030504040204" pitchFamily="50" charset="-128"/>
                    <a:ea typeface="メイリオ" panose="020B0604030504040204" pitchFamily="50" charset="-128"/>
                    <a:cs typeface="メイリオ" panose="020B0604030504040204" pitchFamily="50" charset="-128"/>
                  </a:rPr>
                  <a:t>H</a:t>
                </a:r>
                <a:r>
                  <a:rPr lang="en-US" altLang="ja-JP" sz="1051" b="1" kern="0" dirty="0">
                    <a:solidFill>
                      <a:srgbClr val="FFFFFF"/>
                    </a:solidFill>
                    <a:latin typeface="メイリオ" panose="020B0604030504040204" pitchFamily="50" charset="-128"/>
                    <a:ea typeface="メイリオ" panose="020B0604030504040204" pitchFamily="50" charset="-128"/>
                    <a:cs typeface="メイリオ" panose="020B0604030504040204" pitchFamily="50" charset="-128"/>
                  </a:rPr>
                  <a:t>2</a:t>
                </a:r>
                <a:endParaRPr lang="ja-JP" altLang="en-US" b="1" kern="0" dirty="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endParaRPr>
              </a:p>
            </p:txBody>
          </p:sp>
          <p:sp>
            <p:nvSpPr>
              <p:cNvPr id="79" name="正方形/長方形 55"/>
              <p:cNvSpPr>
                <a:spLocks noChangeArrowheads="1"/>
              </p:cNvSpPr>
              <p:nvPr/>
            </p:nvSpPr>
            <p:spPr bwMode="auto">
              <a:xfrm>
                <a:off x="56176" y="5346971"/>
                <a:ext cx="2423306" cy="3109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  <a:cs typeface="メイリオ" panose="020B0604030504040204" pitchFamily="50" charset="-128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  <a:cs typeface="メイリオ" panose="020B0604030504040204" pitchFamily="50" charset="-128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  <a:cs typeface="メイリオ" panose="020B0604030504040204" pitchFamily="50" charset="-128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  <a:cs typeface="メイリオ" panose="020B0604030504040204" pitchFamily="50" charset="-128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  <a:cs typeface="メイリオ" panose="020B0604030504040204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  <a:cs typeface="メイリオ" panose="020B0604030504040204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  <a:cs typeface="メイリオ" panose="020B0604030504040204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  <a:cs typeface="メイリオ" panose="020B0604030504040204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  <a:cs typeface="メイリオ" panose="020B0604030504040204" pitchFamily="50" charset="-128"/>
                  </a:defRPr>
                </a:lvl9pPr>
              </a:lstStyle>
              <a:p>
                <a:pPr algn="ctr">
                  <a:lnSpc>
                    <a:spcPts val="1200"/>
                  </a:lnSpc>
                </a:pPr>
                <a:r>
                  <a:rPr lang="ja-JP" altLang="en-US" sz="1600" dirty="0">
                    <a:solidFill>
                      <a:srgbClr val="000000"/>
                    </a:solidFill>
                    <a:latin typeface="メイリオ" panose="020B0604030504040204" pitchFamily="50" charset="-128"/>
                  </a:rPr>
                  <a:t>再生可能エネルギー </a:t>
                </a:r>
                <a:endParaRPr lang="en-US" altLang="ja-JP" sz="1600" dirty="0">
                  <a:solidFill>
                    <a:srgbClr val="000000"/>
                  </a:solidFill>
                  <a:latin typeface="メイリオ" panose="020B0604030504040204" pitchFamily="50" charset="-128"/>
                </a:endParaRPr>
              </a:p>
              <a:p>
                <a:pPr algn="ctr">
                  <a:lnSpc>
                    <a:spcPts val="1400"/>
                  </a:lnSpc>
                </a:pPr>
                <a:r>
                  <a:rPr lang="ja-JP" altLang="en-US" sz="1600" dirty="0">
                    <a:solidFill>
                      <a:srgbClr val="000000"/>
                    </a:solidFill>
                    <a:latin typeface="メイリオ" panose="020B0604030504040204" pitchFamily="50" charset="-128"/>
                  </a:rPr>
                  <a:t> ＋  水電解</a:t>
                </a:r>
              </a:p>
            </p:txBody>
          </p:sp>
          <p:grpSp>
            <p:nvGrpSpPr>
              <p:cNvPr id="83" name="グループ化 84"/>
              <p:cNvGrpSpPr>
                <a:grpSpLocks/>
              </p:cNvGrpSpPr>
              <p:nvPr/>
            </p:nvGrpSpPr>
            <p:grpSpPr bwMode="auto">
              <a:xfrm>
                <a:off x="38100" y="5507040"/>
                <a:ext cx="1617357" cy="1274236"/>
                <a:chOff x="-79714" y="3797427"/>
                <a:chExt cx="1713023" cy="1276560"/>
              </a:xfrm>
            </p:grpSpPr>
            <p:sp>
              <p:nvSpPr>
                <p:cNvPr id="99" name="雲 98"/>
                <p:cNvSpPr/>
                <p:nvPr/>
              </p:nvSpPr>
              <p:spPr bwMode="auto">
                <a:xfrm>
                  <a:off x="41598" y="4085456"/>
                  <a:ext cx="1028641" cy="836389"/>
                </a:xfrm>
                <a:prstGeom prst="cloud">
                  <a:avLst/>
                </a:prstGeom>
                <a:gradFill flip="none" rotWithShape="1">
                  <a:gsLst>
                    <a:gs pos="0">
                      <a:schemeClr val="accent1">
                        <a:tint val="66000"/>
                        <a:satMod val="160000"/>
                      </a:schemeClr>
                    </a:gs>
                    <a:gs pos="50000">
                      <a:schemeClr val="accent1">
                        <a:tint val="44500"/>
                        <a:satMod val="160000"/>
                      </a:schemeClr>
                    </a:gs>
                    <a:gs pos="100000">
                      <a:schemeClr val="accent1">
                        <a:tint val="23500"/>
                        <a:satMod val="160000"/>
                      </a:scheme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hangingPunct="1">
                    <a:defRPr/>
                  </a:pPr>
                  <a:endParaRPr lang="ja-JP" altLang="en-US" sz="2400">
                    <a:solidFill>
                      <a:prstClr val="white"/>
                    </a:solidFill>
                    <a:latin typeface="メイリオ" panose="020B0604030504040204" pitchFamily="50" charset="-128"/>
                    <a:ea typeface="メイリオ" panose="020B0604030504040204" pitchFamily="50" charset="-128"/>
                    <a:cs typeface="メイリオ" panose="020B0604030504040204" pitchFamily="50" charset="-128"/>
                  </a:endParaRPr>
                </a:p>
              </p:txBody>
            </p:sp>
            <p:grpSp>
              <p:nvGrpSpPr>
                <p:cNvPr id="100" name="グループ化 86"/>
                <p:cNvGrpSpPr>
                  <a:grpSpLocks/>
                </p:cNvGrpSpPr>
                <p:nvPr/>
              </p:nvGrpSpPr>
              <p:grpSpPr bwMode="auto">
                <a:xfrm>
                  <a:off x="-79714" y="4282342"/>
                  <a:ext cx="921132" cy="772991"/>
                  <a:chOff x="162498" y="3687170"/>
                  <a:chExt cx="921132" cy="772991"/>
                </a:xfrm>
              </p:grpSpPr>
              <p:sp>
                <p:nvSpPr>
                  <p:cNvPr id="107" name="正方形/長方形 55"/>
                  <p:cNvSpPr>
                    <a:spLocks noChangeArrowheads="1"/>
                  </p:cNvSpPr>
                  <p:nvPr/>
                </p:nvSpPr>
                <p:spPr bwMode="auto">
                  <a:xfrm>
                    <a:off x="162498" y="3687170"/>
                    <a:ext cx="921132" cy="20269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>
                    <a:spAutoFit/>
                  </a:bodyPr>
                  <a:lstStyle>
                    <a:lvl1pPr>
                      <a:defRPr kumimoji="1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メイリオ" panose="020B0604030504040204" pitchFamily="50" charset="-128"/>
                        <a:cs typeface="メイリオ" panose="020B0604030504040204" pitchFamily="50" charset="-128"/>
                      </a:defRPr>
                    </a:lvl1pPr>
                    <a:lvl2pPr marL="742950" indent="-285750">
                      <a:defRPr kumimoji="1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メイリオ" panose="020B0604030504040204" pitchFamily="50" charset="-128"/>
                        <a:cs typeface="メイリオ" panose="020B0604030504040204" pitchFamily="50" charset="-128"/>
                      </a:defRPr>
                    </a:lvl2pPr>
                    <a:lvl3pPr marL="1143000" indent="-228600">
                      <a:defRPr kumimoji="1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メイリオ" panose="020B0604030504040204" pitchFamily="50" charset="-128"/>
                        <a:cs typeface="メイリオ" panose="020B0604030504040204" pitchFamily="50" charset="-128"/>
                      </a:defRPr>
                    </a:lvl3pPr>
                    <a:lvl4pPr marL="1600200" indent="-228600">
                      <a:defRPr kumimoji="1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メイリオ" panose="020B0604030504040204" pitchFamily="50" charset="-128"/>
                        <a:cs typeface="メイリオ" panose="020B0604030504040204" pitchFamily="50" charset="-128"/>
                      </a:defRPr>
                    </a:lvl4pPr>
                    <a:lvl5pPr marL="2057400" indent="-228600">
                      <a:defRPr kumimoji="1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メイリオ" panose="020B0604030504040204" pitchFamily="50" charset="-128"/>
                        <a:cs typeface="メイリオ" panose="020B0604030504040204" pitchFamily="50" charset="-128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メイリオ" panose="020B0604030504040204" pitchFamily="50" charset="-128"/>
                        <a:cs typeface="メイリオ" panose="020B0604030504040204" pitchFamily="50" charset="-128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メイリオ" panose="020B0604030504040204" pitchFamily="50" charset="-128"/>
                        <a:cs typeface="メイリオ" panose="020B0604030504040204" pitchFamily="50" charset="-128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メイリオ" panose="020B0604030504040204" pitchFamily="50" charset="-128"/>
                        <a:cs typeface="メイリオ" panose="020B0604030504040204" pitchFamily="50" charset="-128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メイリオ" panose="020B0604030504040204" pitchFamily="50" charset="-128"/>
                        <a:cs typeface="メイリオ" panose="020B0604030504040204" pitchFamily="50" charset="-128"/>
                      </a:defRPr>
                    </a:lvl9pPr>
                  </a:lstStyle>
                  <a:p>
                    <a:pPr algn="just" eaLnBrk="1" hangingPunct="1"/>
                    <a:r>
                      <a:rPr lang="ja-JP" altLang="en-US" sz="1200">
                        <a:solidFill>
                          <a:srgbClr val="000000"/>
                        </a:solidFill>
                        <a:latin typeface="メイリオ" panose="020B0604030504040204" pitchFamily="50" charset="-128"/>
                      </a:rPr>
                      <a:t>風力発電</a:t>
                    </a:r>
                  </a:p>
                </p:txBody>
              </p:sp>
              <p:pic>
                <p:nvPicPr>
                  <p:cNvPr id="108" name="Picture 30" descr="D:\Temporary Internet Files\Temporary Internet Files\Content.IE5\8EHKH3CV\MC900432247[1].wmf"/>
                  <p:cNvPicPr>
                    <a:picLocks noChangeAspect="1" noChangeArrowheads="1"/>
                  </p:cNvPicPr>
                  <p:nvPr/>
                </p:nvPicPr>
                <p:blipFill>
                  <a:blip r:embed="rId6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7297" r="13429"/>
                  <a:stretch>
                    <a:fillRect/>
                  </a:stretch>
                </p:blipFill>
                <p:spPr bwMode="auto">
                  <a:xfrm>
                    <a:off x="295175" y="3856968"/>
                    <a:ext cx="592556" cy="60319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  <p:grpSp>
              <p:nvGrpSpPr>
                <p:cNvPr id="101" name="グループ化 87"/>
                <p:cNvGrpSpPr>
                  <a:grpSpLocks/>
                </p:cNvGrpSpPr>
                <p:nvPr/>
              </p:nvGrpSpPr>
              <p:grpSpPr bwMode="auto">
                <a:xfrm>
                  <a:off x="52963" y="3797427"/>
                  <a:ext cx="793143" cy="486621"/>
                  <a:chOff x="431051" y="3847331"/>
                  <a:chExt cx="793143" cy="486621"/>
                </a:xfrm>
              </p:grpSpPr>
              <p:pic>
                <p:nvPicPr>
                  <p:cNvPr id="105" name="Picture 16"/>
                  <p:cNvPicPr>
                    <a:picLocks noChangeAspect="1" noChangeArrowheads="1"/>
                  </p:cNvPicPr>
                  <p:nvPr/>
                </p:nvPicPr>
                <p:blipFill>
                  <a:blip r:embed="rId7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31051" y="3933056"/>
                    <a:ext cx="793143" cy="400896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sp>
                <p:nvSpPr>
                  <p:cNvPr id="106" name="稲妻 105"/>
                  <p:cNvSpPr/>
                  <p:nvPr/>
                </p:nvSpPr>
                <p:spPr bwMode="auto">
                  <a:xfrm>
                    <a:off x="827672" y="3847135"/>
                    <a:ext cx="190108" cy="170792"/>
                  </a:xfrm>
                  <a:prstGeom prst="lightningBolt">
                    <a:avLst/>
                  </a:prstGeom>
                  <a:solidFill>
                    <a:srgbClr val="FFFF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 hangingPunct="1">
                      <a:defRPr/>
                    </a:pPr>
                    <a:endParaRPr lang="ja-JP" altLang="en-US" sz="2000">
                      <a:solidFill>
                        <a:prstClr val="white"/>
                      </a:solidFill>
                      <a:latin typeface="メイリオ" panose="020B0604030504040204" pitchFamily="50" charset="-128"/>
                      <a:ea typeface="メイリオ" panose="020B0604030504040204" pitchFamily="50" charset="-128"/>
                      <a:cs typeface="メイリオ" panose="020B0604030504040204" pitchFamily="50" charset="-128"/>
                    </a:endParaRPr>
                  </a:p>
                </p:txBody>
              </p:sp>
            </p:grpSp>
            <p:grpSp>
              <p:nvGrpSpPr>
                <p:cNvPr id="102" name="グループ化 90"/>
                <p:cNvGrpSpPr>
                  <a:grpSpLocks/>
                </p:cNvGrpSpPr>
                <p:nvPr/>
              </p:nvGrpSpPr>
              <p:grpSpPr bwMode="auto">
                <a:xfrm>
                  <a:off x="665318" y="4368780"/>
                  <a:ext cx="967991" cy="705207"/>
                  <a:chOff x="284182" y="4927147"/>
                  <a:chExt cx="967991" cy="705207"/>
                </a:xfrm>
              </p:grpSpPr>
              <p:pic>
                <p:nvPicPr>
                  <p:cNvPr id="103" name="Picture 7" descr="D:\Temporary Internet Files\Temporary Internet Files\Content.IE5\FO9I05UH\sgi01a201401030100[1].jpg"/>
                  <p:cNvPicPr>
                    <a:picLocks noChangeAspect="1" noChangeArrowheads="1"/>
                  </p:cNvPicPr>
                  <p:nvPr/>
                </p:nvPicPr>
                <p:blipFill>
                  <a:blip r:embed="rId8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60282" y="4927147"/>
                    <a:ext cx="533773" cy="53377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104" name="正方形/長方形 55"/>
                  <p:cNvSpPr>
                    <a:spLocks noChangeArrowheads="1"/>
                  </p:cNvSpPr>
                  <p:nvPr/>
                </p:nvSpPr>
                <p:spPr bwMode="auto">
                  <a:xfrm>
                    <a:off x="284182" y="5429657"/>
                    <a:ext cx="967991" cy="20269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>
                    <a:spAutoFit/>
                  </a:bodyPr>
                  <a:lstStyle>
                    <a:lvl1pPr>
                      <a:defRPr kumimoji="1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メイリオ" panose="020B0604030504040204" pitchFamily="50" charset="-128"/>
                        <a:cs typeface="メイリオ" panose="020B0604030504040204" pitchFamily="50" charset="-128"/>
                      </a:defRPr>
                    </a:lvl1pPr>
                    <a:lvl2pPr marL="742950" indent="-285750">
                      <a:defRPr kumimoji="1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メイリオ" panose="020B0604030504040204" pitchFamily="50" charset="-128"/>
                        <a:cs typeface="メイリオ" panose="020B0604030504040204" pitchFamily="50" charset="-128"/>
                      </a:defRPr>
                    </a:lvl2pPr>
                    <a:lvl3pPr marL="1143000" indent="-228600">
                      <a:defRPr kumimoji="1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メイリオ" panose="020B0604030504040204" pitchFamily="50" charset="-128"/>
                        <a:cs typeface="メイリオ" panose="020B0604030504040204" pitchFamily="50" charset="-128"/>
                      </a:defRPr>
                    </a:lvl3pPr>
                    <a:lvl4pPr marL="1600200" indent="-228600">
                      <a:defRPr kumimoji="1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メイリオ" panose="020B0604030504040204" pitchFamily="50" charset="-128"/>
                        <a:cs typeface="メイリオ" panose="020B0604030504040204" pitchFamily="50" charset="-128"/>
                      </a:defRPr>
                    </a:lvl4pPr>
                    <a:lvl5pPr marL="2057400" indent="-228600">
                      <a:defRPr kumimoji="1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メイリオ" panose="020B0604030504040204" pitchFamily="50" charset="-128"/>
                        <a:cs typeface="メイリオ" panose="020B0604030504040204" pitchFamily="50" charset="-128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メイリオ" panose="020B0604030504040204" pitchFamily="50" charset="-128"/>
                        <a:cs typeface="メイリオ" panose="020B0604030504040204" pitchFamily="50" charset="-128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メイリオ" panose="020B0604030504040204" pitchFamily="50" charset="-128"/>
                        <a:cs typeface="メイリオ" panose="020B0604030504040204" pitchFamily="50" charset="-128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メイリオ" panose="020B0604030504040204" pitchFamily="50" charset="-128"/>
                        <a:cs typeface="メイリオ" panose="020B0604030504040204" pitchFamily="50" charset="-128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kumimoji="1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メイリオ" panose="020B0604030504040204" pitchFamily="50" charset="-128"/>
                        <a:cs typeface="メイリオ" panose="020B0604030504040204" pitchFamily="50" charset="-128"/>
                      </a:defRPr>
                    </a:lvl9pPr>
                  </a:lstStyle>
                  <a:p>
                    <a:pPr algn="just" eaLnBrk="1" hangingPunct="1"/>
                    <a:r>
                      <a:rPr lang="ja-JP" altLang="en-US" sz="1200">
                        <a:solidFill>
                          <a:srgbClr val="000000"/>
                        </a:solidFill>
                        <a:latin typeface="メイリオ" panose="020B0604030504040204" pitchFamily="50" charset="-128"/>
                      </a:rPr>
                      <a:t>小水力発電</a:t>
                    </a:r>
                  </a:p>
                </p:txBody>
              </p:sp>
            </p:grpSp>
          </p:grpSp>
          <p:sp>
            <p:nvSpPr>
              <p:cNvPr id="87" name="円/楕円 72"/>
              <p:cNvSpPr/>
              <p:nvPr/>
            </p:nvSpPr>
            <p:spPr bwMode="auto">
              <a:xfrm>
                <a:off x="4070352" y="5728152"/>
                <a:ext cx="535457" cy="364259"/>
              </a:xfrm>
              <a:prstGeom prst="ellipse">
                <a:avLst/>
              </a:prstGeom>
              <a:solidFill>
                <a:srgbClr val="00A1DE"/>
              </a:solidFill>
              <a:ln>
                <a:noFill/>
              </a:ln>
              <a:effectLst/>
            </p:spPr>
            <p:txBody>
              <a:bodyPr lIns="0" tIns="36000" rIns="0" bIns="36000" anchor="ctr"/>
              <a:lstStyle>
                <a:lvl1pPr eaLnBrk="0" hangingPunct="0">
                  <a:defRPr kumimoji="1">
                    <a:solidFill>
                      <a:schemeClr val="tx1"/>
                    </a:solidFill>
                    <a:latin typeface="Calibri" pitchFamily="34" charset="0"/>
                    <a:ea typeface="ＭＳ Ｐゴシック" pitchFamily="50" charset="-128"/>
                  </a:defRPr>
                </a:lvl1pPr>
                <a:lvl2pPr marL="742950" indent="-285750" eaLnBrk="0" hangingPunct="0">
                  <a:defRPr kumimoji="1">
                    <a:solidFill>
                      <a:schemeClr val="tx1"/>
                    </a:solidFill>
                    <a:latin typeface="Calibri" pitchFamily="34" charset="0"/>
                    <a:ea typeface="ＭＳ Ｐゴシック" pitchFamily="50" charset="-128"/>
                  </a:defRPr>
                </a:lvl2pPr>
                <a:lvl3pPr marL="1143000" indent="-228600" eaLnBrk="0" hangingPunct="0">
                  <a:defRPr kumimoji="1">
                    <a:solidFill>
                      <a:schemeClr val="tx1"/>
                    </a:solidFill>
                    <a:latin typeface="Calibri" pitchFamily="34" charset="0"/>
                    <a:ea typeface="ＭＳ Ｐゴシック" pitchFamily="50" charset="-128"/>
                  </a:defRPr>
                </a:lvl3pPr>
                <a:lvl4pPr marL="1600200" indent="-228600" eaLnBrk="0" hangingPunct="0">
                  <a:defRPr kumimoji="1">
                    <a:solidFill>
                      <a:schemeClr val="tx1"/>
                    </a:solidFill>
                    <a:latin typeface="Calibri" pitchFamily="34" charset="0"/>
                    <a:ea typeface="ＭＳ Ｐゴシック" pitchFamily="50" charset="-128"/>
                  </a:defRPr>
                </a:lvl4pPr>
                <a:lvl5pPr marL="2057400" indent="-228600" eaLnBrk="0" hangingPunct="0">
                  <a:defRPr kumimoji="1">
                    <a:solidFill>
                      <a:schemeClr val="tx1"/>
                    </a:solidFill>
                    <a:latin typeface="Calibri" pitchFamily="34" charset="0"/>
                    <a:ea typeface="ＭＳ Ｐゴシック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pitchFamily="34" charset="0"/>
                    <a:ea typeface="ＭＳ Ｐゴシック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pitchFamily="34" charset="0"/>
                    <a:ea typeface="ＭＳ Ｐゴシック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pitchFamily="34" charset="0"/>
                    <a:ea typeface="ＭＳ Ｐゴシック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pitchFamily="34" charset="0"/>
                    <a:ea typeface="ＭＳ Ｐゴシック" pitchFamily="50" charset="-128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altLang="ja-JP" b="1" kern="0" dirty="0">
                    <a:solidFill>
                      <a:srgbClr val="FFFFFF"/>
                    </a:solidFill>
                    <a:latin typeface="メイリオ" panose="020B0604030504040204" pitchFamily="50" charset="-128"/>
                    <a:ea typeface="メイリオ" panose="020B0604030504040204" pitchFamily="50" charset="-128"/>
                    <a:cs typeface="メイリオ" panose="020B0604030504040204" pitchFamily="50" charset="-128"/>
                  </a:rPr>
                  <a:t>H</a:t>
                </a:r>
                <a:r>
                  <a:rPr lang="en-US" altLang="ja-JP" sz="1051" b="1" kern="0" dirty="0">
                    <a:solidFill>
                      <a:srgbClr val="FFFFFF"/>
                    </a:solidFill>
                    <a:latin typeface="メイリオ" panose="020B0604030504040204" pitchFamily="50" charset="-128"/>
                    <a:ea typeface="メイリオ" panose="020B0604030504040204" pitchFamily="50" charset="-128"/>
                    <a:cs typeface="メイリオ" panose="020B0604030504040204" pitchFamily="50" charset="-128"/>
                  </a:rPr>
                  <a:t>2</a:t>
                </a:r>
                <a:endParaRPr lang="ja-JP" altLang="en-US" b="1" kern="0" dirty="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endParaRPr>
              </a:p>
            </p:txBody>
          </p:sp>
          <p:grpSp>
            <p:nvGrpSpPr>
              <p:cNvPr id="88" name="グループ化 1"/>
              <p:cNvGrpSpPr>
                <a:grpSpLocks/>
              </p:cNvGrpSpPr>
              <p:nvPr/>
            </p:nvGrpSpPr>
            <p:grpSpPr bwMode="auto">
              <a:xfrm>
                <a:off x="6585847" y="5289605"/>
                <a:ext cx="1469565" cy="941274"/>
                <a:chOff x="6391345" y="5218378"/>
                <a:chExt cx="1557870" cy="940762"/>
              </a:xfrm>
            </p:grpSpPr>
            <p:pic>
              <p:nvPicPr>
                <p:cNvPr id="97" name="Picture 103"/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544921" y="5471347"/>
                  <a:ext cx="1196581" cy="68779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sp>
              <p:nvSpPr>
                <p:cNvPr id="98" name="正方形/長方形 94"/>
                <p:cNvSpPr>
                  <a:spLocks noChangeArrowheads="1"/>
                </p:cNvSpPr>
                <p:nvPr/>
              </p:nvSpPr>
              <p:spPr bwMode="auto">
                <a:xfrm>
                  <a:off x="6391345" y="5218378"/>
                  <a:ext cx="1557870" cy="38196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1pPr>
                  <a:lvl2pPr marL="742950" indent="-285750"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2pPr>
                  <a:lvl3pPr marL="1143000" indent="-228600"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3pPr>
                  <a:lvl4pPr marL="1600200" indent="-228600"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4pPr>
                  <a:lvl5pPr marL="2057400" indent="-228600"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kumimoji="1">
                      <a:solidFill>
                        <a:schemeClr val="tx1"/>
                      </a:solidFill>
                      <a:latin typeface="Cambria" panose="02040503050406030204" pitchFamily="18" charset="0"/>
                      <a:ea typeface="メイリオ" panose="020B0604030504040204" pitchFamily="50" charset="-128"/>
                      <a:cs typeface="メイリオ" panose="020B0604030504040204" pitchFamily="50" charset="-128"/>
                    </a:defRPr>
                  </a:lvl9pPr>
                </a:lstStyle>
                <a:p>
                  <a:pPr algn="ctr" eaLnBrk="1" hangingPunct="1"/>
                  <a:r>
                    <a:rPr lang="ja-JP" altLang="en-US" sz="1400">
                      <a:solidFill>
                        <a:srgbClr val="000000"/>
                      </a:solidFill>
                      <a:latin typeface="メイリオ" panose="020B0604030504040204" pitchFamily="50" charset="-128"/>
                    </a:rPr>
                    <a:t>燃料電池</a:t>
                  </a:r>
                  <a:endParaRPr lang="en-US" altLang="ja-JP" sz="1400">
                    <a:solidFill>
                      <a:srgbClr val="000000"/>
                    </a:solidFill>
                    <a:latin typeface="メイリオ" panose="020B0604030504040204" pitchFamily="50" charset="-128"/>
                  </a:endParaRPr>
                </a:p>
                <a:p>
                  <a:pPr algn="ctr" eaLnBrk="1" hangingPunct="1"/>
                  <a:r>
                    <a:rPr lang="ja-JP" altLang="en-US" sz="1400">
                      <a:solidFill>
                        <a:srgbClr val="000000"/>
                      </a:solidFill>
                      <a:latin typeface="メイリオ" panose="020B0604030504040204" pitchFamily="50" charset="-128"/>
                    </a:rPr>
                    <a:t>フォークリフト</a:t>
                  </a:r>
                </a:p>
              </p:txBody>
            </p:sp>
          </p:grpSp>
          <p:pic>
            <p:nvPicPr>
              <p:cNvPr id="89" name="図 1"/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30375" y="5603875"/>
                <a:ext cx="1764251" cy="10890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1" name="右矢印 71"/>
              <p:cNvSpPr/>
              <p:nvPr/>
            </p:nvSpPr>
            <p:spPr bwMode="auto">
              <a:xfrm>
                <a:off x="2284487" y="5395660"/>
                <a:ext cx="408758" cy="95300"/>
              </a:xfrm>
              <a:prstGeom prst="rightArrow">
                <a:avLst/>
              </a:prstGeom>
              <a:solidFill>
                <a:schemeClr val="accent5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lIns="72000" tIns="72000" rIns="72000" bIns="72000" anchor="ctr"/>
              <a:lstStyle/>
              <a:p>
                <a:pPr algn="ctr" eaLnBrk="1" hangingPunct="1">
                  <a:defRPr/>
                </a:pPr>
                <a:endParaRPr kumimoji="0" lang="ja-JP" altLang="en-US" sz="1400" kern="0" dirty="0">
                  <a:solidFill>
                    <a:sysClr val="windowText" lastClr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endParaRPr>
              </a:p>
            </p:txBody>
          </p:sp>
          <p:sp>
            <p:nvSpPr>
              <p:cNvPr id="92" name="正方形/長方形 2048"/>
              <p:cNvSpPr>
                <a:spLocks noChangeArrowheads="1"/>
              </p:cNvSpPr>
              <p:nvPr/>
            </p:nvSpPr>
            <p:spPr bwMode="auto">
              <a:xfrm>
                <a:off x="3715327" y="6261729"/>
                <a:ext cx="5490809" cy="60698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/>
              <a:p>
                <a:pPr>
                  <a:buClr>
                    <a:schemeClr val="bg2">
                      <a:lumMod val="50000"/>
                    </a:schemeClr>
                  </a:buClr>
                  <a:defRPr/>
                </a:pPr>
                <a:r>
                  <a:rPr lang="ja-JP" altLang="en-US" sz="1600" dirty="0">
                    <a:latin typeface="メイリオ" panose="020B0604030504040204" pitchFamily="50" charset="-128"/>
                    <a:ea typeface="メイリオ" panose="020B0604030504040204" pitchFamily="50" charset="-128"/>
                    <a:cs typeface="メイリオ" panose="020B0604030504040204" pitchFamily="50" charset="-128"/>
                  </a:rPr>
                  <a:t>低炭素な水素社会の実現と、燃料電池自動車の普及・促進を図るため、</a:t>
                </a:r>
                <a:r>
                  <a:rPr lang="ja-JP" altLang="en-US" sz="1600" dirty="0">
                    <a:effectLst>
                      <a:glow rad="63500">
                        <a:schemeClr val="accent5">
                          <a:satMod val="175000"/>
                          <a:alpha val="40000"/>
                        </a:schemeClr>
                      </a:glow>
                    </a:effectLst>
                    <a:latin typeface="メイリオ" panose="020B0604030504040204" pitchFamily="50" charset="-128"/>
                    <a:ea typeface="メイリオ" panose="020B0604030504040204" pitchFamily="50" charset="-128"/>
                    <a:cs typeface="メイリオ" panose="020B0604030504040204" pitchFamily="50" charset="-128"/>
                  </a:rPr>
                  <a:t>再エネ由来の水素ステーション、燃料電池バス・燃料電池フォークリフトの導入を支援</a:t>
                </a:r>
                <a:endParaRPr lang="en-US" altLang="ja-JP" sz="1600" dirty="0">
                  <a:effectLst>
                    <a:glow rad="63500">
                      <a:schemeClr val="accent5">
                        <a:satMod val="175000"/>
                        <a:alpha val="40000"/>
                      </a:schemeClr>
                    </a:glow>
                  </a:effectLst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endParaRPr>
              </a:p>
            </p:txBody>
          </p:sp>
          <p:sp>
            <p:nvSpPr>
              <p:cNvPr id="94" name="楕円 93"/>
              <p:cNvSpPr>
                <a:spLocks noChangeAspect="1"/>
              </p:cNvSpPr>
              <p:nvPr/>
            </p:nvSpPr>
            <p:spPr>
              <a:xfrm>
                <a:off x="955555" y="5624463"/>
                <a:ext cx="737970" cy="486000"/>
              </a:xfrm>
              <a:prstGeom prst="ellipse">
                <a:avLst/>
              </a:prstGeom>
              <a:ln>
                <a:noFill/>
              </a:ln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ja-JP" altLang="en-US" sz="1100" dirty="0">
                    <a:solidFill>
                      <a:schemeClr val="tx1"/>
                    </a:solidFill>
                    <a:latin typeface="メイリオ" panose="020B0604030504040204" pitchFamily="50" charset="-128"/>
                    <a:ea typeface="メイリオ" panose="020B0604030504040204" pitchFamily="50" charset="-128"/>
                    <a:cs typeface="メイリオ" panose="020B0604030504040204" pitchFamily="50" charset="-128"/>
                  </a:rPr>
                  <a:t>太陽光発電</a:t>
                </a:r>
              </a:p>
            </p:txBody>
          </p:sp>
          <p:sp>
            <p:nvSpPr>
              <p:cNvPr id="95" name="正方形/長方形 55"/>
              <p:cNvSpPr>
                <a:spLocks noChangeArrowheads="1"/>
              </p:cNvSpPr>
              <p:nvPr/>
            </p:nvSpPr>
            <p:spPr bwMode="auto">
              <a:xfrm>
                <a:off x="1781030" y="6671828"/>
                <a:ext cx="1662940" cy="2248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  <a:cs typeface="メイリオ" panose="020B0604030504040204" pitchFamily="50" charset="-128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  <a:cs typeface="メイリオ" panose="020B0604030504040204" pitchFamily="50" charset="-128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  <a:cs typeface="メイリオ" panose="020B0604030504040204" pitchFamily="50" charset="-128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  <a:cs typeface="メイリオ" panose="020B0604030504040204" pitchFamily="50" charset="-128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  <a:cs typeface="メイリオ" panose="020B0604030504040204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  <a:cs typeface="メイリオ" panose="020B0604030504040204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  <a:cs typeface="メイリオ" panose="020B0604030504040204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  <a:cs typeface="メイリオ" panose="020B0604030504040204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  <a:cs typeface="メイリオ" panose="020B0604030504040204" pitchFamily="50" charset="-128"/>
                  </a:defRPr>
                </a:lvl9pPr>
              </a:lstStyle>
              <a:p>
                <a:pPr algn="just" eaLnBrk="1" hangingPunct="1"/>
                <a:r>
                  <a:rPr lang="ja-JP" altLang="en-US" sz="1400">
                    <a:solidFill>
                      <a:srgbClr val="000000"/>
                    </a:solidFill>
                    <a:latin typeface="メイリオ" panose="020B0604030504040204" pitchFamily="50" charset="-128"/>
                  </a:rPr>
                  <a:t>水素ステーション</a:t>
                </a:r>
              </a:p>
            </p:txBody>
          </p:sp>
        </p:grpSp>
        <p:sp>
          <p:nvSpPr>
            <p:cNvPr id="63" name="正方形/長方形 62"/>
            <p:cNvSpPr/>
            <p:nvPr/>
          </p:nvSpPr>
          <p:spPr>
            <a:xfrm>
              <a:off x="88900" y="4352925"/>
              <a:ext cx="3656013" cy="2339975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ja-JP" altLang="en-US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64" name="正方形/長方形 3"/>
            <p:cNvSpPr>
              <a:spLocks noChangeArrowheads="1"/>
            </p:cNvSpPr>
            <p:nvPr/>
          </p:nvSpPr>
          <p:spPr bwMode="auto">
            <a:xfrm>
              <a:off x="2150647" y="4059238"/>
              <a:ext cx="1694695" cy="3707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algn="ctr"/>
              <a:r>
                <a:rPr lang="ja-JP" altLang="en-US" sz="1600" b="1" u="sng">
                  <a:solidFill>
                    <a:srgbClr val="FF0000"/>
                  </a:solidFill>
                  <a:latin typeface="メイリオ" panose="020B0604030504040204" pitchFamily="50" charset="-128"/>
                </a:rPr>
                <a:t>事業（</a:t>
              </a:r>
              <a:r>
                <a:rPr lang="en-US" altLang="ja-JP" sz="1600" b="1" u="sng">
                  <a:solidFill>
                    <a:srgbClr val="FF0000"/>
                  </a:solidFill>
                  <a:latin typeface="メイリオ" panose="020B0604030504040204" pitchFamily="50" charset="-128"/>
                </a:rPr>
                <a:t>1</a:t>
              </a:r>
              <a:r>
                <a:rPr lang="ja-JP" altLang="en-US" sz="1600" b="1" u="sng">
                  <a:solidFill>
                    <a:srgbClr val="FF0000"/>
                  </a:solidFill>
                  <a:latin typeface="メイリオ" panose="020B0604030504040204" pitchFamily="50" charset="-128"/>
                </a:rPr>
                <a:t>）（</a:t>
              </a:r>
              <a:r>
                <a:rPr lang="en-US" altLang="ja-JP" sz="1600" b="1" u="sng">
                  <a:solidFill>
                    <a:srgbClr val="FF0000"/>
                  </a:solidFill>
                  <a:latin typeface="メイリオ" panose="020B0604030504040204" pitchFamily="50" charset="-128"/>
                </a:rPr>
                <a:t>2</a:t>
              </a:r>
              <a:r>
                <a:rPr lang="ja-JP" altLang="en-US" sz="1600" b="1" u="sng">
                  <a:solidFill>
                    <a:srgbClr val="FF0000"/>
                  </a:solidFill>
                  <a:latin typeface="メイリオ" panose="020B0604030504040204" pitchFamily="50" charset="-128"/>
                </a:rPr>
                <a:t>）</a:t>
              </a:r>
            </a:p>
          </p:txBody>
        </p:sp>
        <p:sp>
          <p:nvSpPr>
            <p:cNvPr id="65" name="正方形/長方形 64"/>
            <p:cNvSpPr/>
            <p:nvPr/>
          </p:nvSpPr>
          <p:spPr>
            <a:xfrm>
              <a:off x="7002463" y="4352925"/>
              <a:ext cx="2784475" cy="1458623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ja-JP" altLang="en-US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66" name="正方形/長方形 50"/>
            <p:cNvSpPr>
              <a:spLocks noChangeArrowheads="1"/>
            </p:cNvSpPr>
            <p:nvPr/>
          </p:nvSpPr>
          <p:spPr bwMode="auto">
            <a:xfrm>
              <a:off x="8704124" y="4067175"/>
              <a:ext cx="1144864" cy="3707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algn="ctr"/>
              <a:r>
                <a:rPr lang="ja-JP" altLang="en-US" sz="1600" b="1" u="sng" dirty="0">
                  <a:solidFill>
                    <a:srgbClr val="FF0000"/>
                  </a:solidFill>
                  <a:latin typeface="メイリオ" panose="020B0604030504040204" pitchFamily="50" charset="-128"/>
                </a:rPr>
                <a:t>事業（</a:t>
              </a:r>
              <a:r>
                <a:rPr lang="en-US" altLang="ja-JP" sz="1600" b="1" u="sng" dirty="0">
                  <a:solidFill>
                    <a:srgbClr val="FF0000"/>
                  </a:solidFill>
                  <a:latin typeface="メイリオ" panose="020B0604030504040204" pitchFamily="50" charset="-128"/>
                </a:rPr>
                <a:t>3</a:t>
              </a:r>
              <a:r>
                <a:rPr lang="ja-JP" altLang="en-US" sz="1600" b="1" u="sng" dirty="0">
                  <a:solidFill>
                    <a:srgbClr val="FF0000"/>
                  </a:solidFill>
                  <a:latin typeface="メイリオ" panose="020B0604030504040204" pitchFamily="50" charset="-128"/>
                </a:rPr>
                <a:t>）</a:t>
              </a:r>
            </a:p>
          </p:txBody>
        </p:sp>
      </p:grpSp>
      <p:sp>
        <p:nvSpPr>
          <p:cNvPr id="72" name="正方形/長方形 71"/>
          <p:cNvSpPr/>
          <p:nvPr/>
        </p:nvSpPr>
        <p:spPr>
          <a:xfrm>
            <a:off x="8719813" y="75092"/>
            <a:ext cx="1129651" cy="315591"/>
          </a:xfrm>
          <a:prstGeom prst="rect">
            <a:avLst/>
          </a:prstGeom>
          <a:gradFill>
            <a:gsLst>
              <a:gs pos="0">
                <a:srgbClr val="BCBCBC"/>
              </a:gs>
              <a:gs pos="35000">
                <a:srgbClr val="D0D0D0"/>
              </a:gs>
              <a:gs pos="100000">
                <a:srgbClr val="EDEDED"/>
              </a:gs>
            </a:gsLst>
            <a:lin ang="16200000" scaled="0"/>
          </a:gra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 defTabSz="844314">
              <a:defRPr/>
            </a:pPr>
            <a:r>
              <a:rPr lang="ja-JP" altLang="en-US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補助</a:t>
            </a:r>
          </a:p>
        </p:txBody>
      </p:sp>
    </p:spTree>
    <p:extLst>
      <p:ext uri="{BB962C8B-B14F-4D97-AF65-F5344CB8AC3E}">
        <p14:creationId xmlns:p14="http://schemas.microsoft.com/office/powerpoint/2010/main" val="40080463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/>
          <p:cNvSpPr/>
          <p:nvPr/>
        </p:nvSpPr>
        <p:spPr>
          <a:xfrm>
            <a:off x="520337" y="3592279"/>
            <a:ext cx="8881548" cy="306977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ja-JP" altLang="en-US" dirty="0">
              <a:solidFill>
                <a:prstClr val="white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8" name="正方形/長方形 77"/>
          <p:cNvSpPr/>
          <p:nvPr/>
        </p:nvSpPr>
        <p:spPr>
          <a:xfrm>
            <a:off x="7183670" y="5958239"/>
            <a:ext cx="1843471" cy="57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ja-JP" altLang="en-US">
              <a:solidFill>
                <a:prstClr val="white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7" name="正方形/長方形 76"/>
          <p:cNvSpPr/>
          <p:nvPr/>
        </p:nvSpPr>
        <p:spPr>
          <a:xfrm>
            <a:off x="4470762" y="5873011"/>
            <a:ext cx="1750425" cy="2757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ja-JP" altLang="en-US">
              <a:solidFill>
                <a:prstClr val="white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正方形/長方形 5"/>
          <p:cNvSpPr/>
          <p:nvPr/>
        </p:nvSpPr>
        <p:spPr>
          <a:xfrm>
            <a:off x="520337" y="460371"/>
            <a:ext cx="8881548" cy="30843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ja-JP" altLang="en-US" dirty="0">
              <a:solidFill>
                <a:prstClr val="white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4" name="正方形/長方形 33"/>
          <p:cNvSpPr/>
          <p:nvPr/>
        </p:nvSpPr>
        <p:spPr>
          <a:xfrm>
            <a:off x="4352115" y="2664763"/>
            <a:ext cx="1806887" cy="2757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ja-JP" altLang="en-US">
              <a:solidFill>
                <a:prstClr val="white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" name="テキスト ボックス 7"/>
          <p:cNvSpPr txBox="1"/>
          <p:nvPr/>
        </p:nvSpPr>
        <p:spPr>
          <a:xfrm>
            <a:off x="598704" y="487672"/>
            <a:ext cx="66511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189"/>
            <a:r>
              <a:rPr lang="ja-JP" altLang="en-US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○燃料電池自動車（</a:t>
            </a:r>
            <a:r>
              <a:rPr lang="en-US" altLang="ja-JP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FCV</a:t>
            </a:r>
            <a:r>
              <a:rPr lang="ja-JP" altLang="en-US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）向けの例　</a:t>
            </a:r>
            <a:r>
              <a:rPr lang="ja-JP" altLang="en-US" sz="14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･･･自治体、エネルギー事業者等による実施</a:t>
            </a:r>
          </a:p>
        </p:txBody>
      </p:sp>
      <p:pic>
        <p:nvPicPr>
          <p:cNvPr id="9" name="図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2827" y="823274"/>
            <a:ext cx="1114175" cy="833401"/>
          </a:xfrm>
          <a:prstGeom prst="rect">
            <a:avLst/>
          </a:prstGeom>
        </p:spPr>
      </p:pic>
      <p:pic>
        <p:nvPicPr>
          <p:cNvPr id="11" name="図 10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312" b="95954" l="2273" r="96104">
                        <a14:foregroundMark x1="72403" y1="39306" x2="72078" y2="73410"/>
                        <a14:foregroundMark x1="73377" y1="35838" x2="73377" y2="35838"/>
                        <a14:foregroundMark x1="73701" y1="44509" x2="74026" y2="47399"/>
                        <a14:foregroundMark x1="22403" y1="76879" x2="27273" y2="74566"/>
                        <a14:foregroundMark x1="20130" y1="76301" x2="27597" y2="69942"/>
                        <a14:foregroundMark x1="50974" y1="10983" x2="50974" y2="2659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314" y="642492"/>
            <a:ext cx="2127451" cy="1194963"/>
          </a:xfrm>
          <a:prstGeom prst="rect">
            <a:avLst/>
          </a:prstGeom>
        </p:spPr>
      </p:pic>
      <p:pic>
        <p:nvPicPr>
          <p:cNvPr id="12" name="図 11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6667" b="95417" l="1628" r="9953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1011" y="847927"/>
            <a:ext cx="902831" cy="503905"/>
          </a:xfrm>
          <a:prstGeom prst="rect">
            <a:avLst/>
          </a:prstGeom>
        </p:spPr>
      </p:pic>
      <p:pic>
        <p:nvPicPr>
          <p:cNvPr id="13" name="図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7430" y="3977639"/>
            <a:ext cx="692971" cy="545895"/>
          </a:xfrm>
          <a:prstGeom prst="rect">
            <a:avLst/>
          </a:prstGeom>
        </p:spPr>
      </p:pic>
      <p:pic>
        <p:nvPicPr>
          <p:cNvPr id="14" name="図 13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6667" b="95417" l="1628" r="9953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270" y="1177019"/>
            <a:ext cx="902831" cy="503905"/>
          </a:xfrm>
          <a:prstGeom prst="rect">
            <a:avLst/>
          </a:prstGeom>
        </p:spPr>
      </p:pic>
      <p:pic>
        <p:nvPicPr>
          <p:cNvPr id="15" name="図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0694" y="3965907"/>
            <a:ext cx="692971" cy="545895"/>
          </a:xfrm>
          <a:prstGeom prst="rect">
            <a:avLst/>
          </a:prstGeom>
        </p:spPr>
      </p:pic>
      <p:pic>
        <p:nvPicPr>
          <p:cNvPr id="16" name="図 15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6667" b="95417" l="1628" r="9953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4190" y="833055"/>
            <a:ext cx="902831" cy="503905"/>
          </a:xfrm>
          <a:prstGeom prst="rect">
            <a:avLst/>
          </a:prstGeom>
        </p:spPr>
      </p:pic>
      <p:sp>
        <p:nvSpPr>
          <p:cNvPr id="17" name="テキスト ボックス 16"/>
          <p:cNvSpPr txBox="1"/>
          <p:nvPr/>
        </p:nvSpPr>
        <p:spPr>
          <a:xfrm>
            <a:off x="1182056" y="1690319"/>
            <a:ext cx="18774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189"/>
            <a:r>
              <a:rPr lang="ja-JP" altLang="en-US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太陽光パネル</a:t>
            </a:r>
            <a:endParaRPr lang="en-US" altLang="ja-JP" sz="16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 defTabSz="457189"/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３０～４０ｋ</a:t>
            </a:r>
            <a:r>
              <a:rPr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W</a:t>
            </a:r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程度）</a:t>
            </a:r>
          </a:p>
        </p:txBody>
      </p:sp>
      <p:sp>
        <p:nvSpPr>
          <p:cNvPr id="18" name="テキスト ボックス 17"/>
          <p:cNvSpPr txBox="1"/>
          <p:nvPr/>
        </p:nvSpPr>
        <p:spPr>
          <a:xfrm>
            <a:off x="3432351" y="1822674"/>
            <a:ext cx="26475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ja-JP" altLang="en-US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水素製造・貯蔵・充填設備</a:t>
            </a:r>
            <a:endParaRPr lang="en-US" altLang="ja-JP" sz="16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9" name="テキスト ボックス 18"/>
          <p:cNvSpPr txBox="1"/>
          <p:nvPr/>
        </p:nvSpPr>
        <p:spPr>
          <a:xfrm>
            <a:off x="6536154" y="1719162"/>
            <a:ext cx="26560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/>
            <a:r>
              <a:rPr lang="ja-JP" altLang="en-US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燃料電池自動車</a:t>
            </a:r>
            <a:endParaRPr lang="en-US" altLang="ja-JP" sz="16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 defTabSz="457189"/>
            <a:r>
              <a:rPr lang="ja-JP" altLang="en-US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→約</a:t>
            </a:r>
            <a:r>
              <a:rPr lang="en-US" altLang="ja-JP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5</a:t>
            </a:r>
            <a:r>
              <a:rPr lang="ja-JP" altLang="en-US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～</a:t>
            </a:r>
            <a:r>
              <a:rPr lang="en-US" altLang="ja-JP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6</a:t>
            </a:r>
            <a:r>
              <a:rPr lang="ja-JP" altLang="en-US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台分</a:t>
            </a:r>
            <a:endParaRPr lang="en-US" altLang="ja-JP" sz="16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21" name="直線矢印コネクタ 20"/>
          <p:cNvCxnSpPr/>
          <p:nvPr/>
        </p:nvCxnSpPr>
        <p:spPr>
          <a:xfrm>
            <a:off x="4104091" y="1671220"/>
            <a:ext cx="841605" cy="11681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線矢印コネクタ 21"/>
          <p:cNvCxnSpPr/>
          <p:nvPr/>
        </p:nvCxnSpPr>
        <p:spPr>
          <a:xfrm flipH="1">
            <a:off x="4972910" y="1647258"/>
            <a:ext cx="248147" cy="11966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線矢印コネクタ 23"/>
          <p:cNvCxnSpPr/>
          <p:nvPr/>
        </p:nvCxnSpPr>
        <p:spPr>
          <a:xfrm>
            <a:off x="5251225" y="1010293"/>
            <a:ext cx="14859" cy="60056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テキスト ボックス 31"/>
          <p:cNvSpPr txBox="1"/>
          <p:nvPr/>
        </p:nvSpPr>
        <p:spPr>
          <a:xfrm>
            <a:off x="763246" y="2634475"/>
            <a:ext cx="5487491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en-US" altLang="ja-JP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</a:t>
            </a:r>
            <a:r>
              <a:rPr lang="ja-JP" altLang="en-US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施設あたりの整備費用：</a:t>
            </a:r>
            <a:r>
              <a:rPr lang="en-US" altLang="ja-JP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</a:t>
            </a:r>
            <a:r>
              <a:rPr lang="ja-JP" altLang="en-US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億円程度 → 　</a:t>
            </a:r>
            <a:r>
              <a:rPr lang="en-US" altLang="ja-JP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/4</a:t>
            </a:r>
            <a:r>
              <a:rPr lang="ja-JP" altLang="en-US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を環境省が補助</a:t>
            </a:r>
            <a:endParaRPr lang="en-US" altLang="ja-JP" sz="16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defTabSz="457189"/>
            <a:endParaRPr lang="en-US" altLang="ja-JP" sz="5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defTabSz="457189"/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参考）水素製造能力は約</a:t>
            </a:r>
            <a:r>
              <a:rPr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.5kg/</a:t>
            </a:r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日･･･一日の製造量で</a:t>
            </a:r>
            <a:r>
              <a:rPr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FCV</a:t>
            </a:r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が</a:t>
            </a:r>
            <a:r>
              <a:rPr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50km</a:t>
            </a:r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程度走行</a:t>
            </a:r>
            <a:endParaRPr lang="en-US" altLang="ja-JP" sz="12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defTabSz="457189"/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　　　　　　可能。単純計算</a:t>
            </a:r>
            <a:r>
              <a:rPr lang="en-US" altLang="ja-JP" sz="1200" baseline="30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で年間約</a:t>
            </a:r>
            <a:r>
              <a:rPr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9</a:t>
            </a:r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万</a:t>
            </a:r>
            <a:r>
              <a:rPr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km</a:t>
            </a:r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に相当。</a:t>
            </a:r>
            <a:endParaRPr lang="en-US" altLang="ja-JP" sz="12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3" name="テキスト ボックス 32"/>
          <p:cNvSpPr txBox="1"/>
          <p:nvPr/>
        </p:nvSpPr>
        <p:spPr>
          <a:xfrm>
            <a:off x="598705" y="3592734"/>
            <a:ext cx="81387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189"/>
            <a:r>
              <a:rPr lang="ja-JP" altLang="en-US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○燃料電池フォークリフト（</a:t>
            </a:r>
            <a:r>
              <a:rPr lang="en-US" altLang="ja-JP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FCFL</a:t>
            </a:r>
            <a:r>
              <a:rPr lang="ja-JP" altLang="en-US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）向けの例　</a:t>
            </a:r>
            <a:r>
              <a:rPr lang="ja-JP" altLang="en-US" sz="14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･･･空港、工場、事業所等において民間事業者が実施　　</a:t>
            </a:r>
          </a:p>
        </p:txBody>
      </p:sp>
      <p:sp>
        <p:nvSpPr>
          <p:cNvPr id="36" name="テキスト ボックス 35"/>
          <p:cNvSpPr txBox="1"/>
          <p:nvPr/>
        </p:nvSpPr>
        <p:spPr>
          <a:xfrm>
            <a:off x="616261" y="4812222"/>
            <a:ext cx="18261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189"/>
            <a:r>
              <a:rPr lang="ja-JP" altLang="en-US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太陽光パネル</a:t>
            </a:r>
            <a:endParaRPr lang="en-US" altLang="ja-JP" sz="16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 defTabSz="457189"/>
            <a:r>
              <a:rPr lang="ja-JP" altLang="en-US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５０ｋ</a:t>
            </a:r>
            <a:r>
              <a:rPr lang="en-US" altLang="ja-JP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W</a:t>
            </a:r>
            <a:r>
              <a:rPr lang="ja-JP" altLang="en-US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程度）</a:t>
            </a:r>
          </a:p>
        </p:txBody>
      </p:sp>
      <p:pic>
        <p:nvPicPr>
          <p:cNvPr id="44" name="図 4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4777" y="4368902"/>
            <a:ext cx="692971" cy="545895"/>
          </a:xfrm>
          <a:prstGeom prst="rect">
            <a:avLst/>
          </a:prstGeom>
        </p:spPr>
      </p:pic>
      <p:pic>
        <p:nvPicPr>
          <p:cNvPr id="45" name="図 4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6154" y="4335751"/>
            <a:ext cx="692971" cy="545895"/>
          </a:xfrm>
          <a:prstGeom prst="rect">
            <a:avLst/>
          </a:prstGeom>
        </p:spPr>
      </p:pic>
      <p:sp>
        <p:nvSpPr>
          <p:cNvPr id="47" name="テキスト ボックス 46"/>
          <p:cNvSpPr txBox="1"/>
          <p:nvPr/>
        </p:nvSpPr>
        <p:spPr>
          <a:xfrm>
            <a:off x="6680646" y="5607599"/>
            <a:ext cx="2709396" cy="92529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defTabSz="457189">
              <a:lnSpc>
                <a:spcPts val="2400"/>
              </a:lnSpc>
            </a:pPr>
            <a:r>
              <a:rPr lang="ja-JP" altLang="en-US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車両価格：約</a:t>
            </a:r>
            <a:r>
              <a:rPr lang="en-US" altLang="ja-JP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,400</a:t>
            </a:r>
            <a:r>
              <a:rPr lang="ja-JP" altLang="en-US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万円</a:t>
            </a:r>
            <a:r>
              <a:rPr lang="en-US" altLang="ja-JP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/</a:t>
            </a:r>
            <a:r>
              <a:rPr lang="ja-JP" altLang="en-US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台</a:t>
            </a:r>
            <a:endParaRPr lang="en-US" altLang="ja-JP" sz="16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defTabSz="457189">
              <a:lnSpc>
                <a:spcPts val="2400"/>
              </a:lnSpc>
            </a:pPr>
            <a:r>
              <a:rPr lang="ja-JP" altLang="en-US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　→  上限</a:t>
            </a:r>
            <a:r>
              <a:rPr lang="en-US" altLang="ja-JP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500</a:t>
            </a:r>
            <a:r>
              <a:rPr lang="ja-JP" altLang="en-US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万円</a:t>
            </a:r>
            <a:r>
              <a:rPr lang="en-US" altLang="ja-JP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/</a:t>
            </a:r>
            <a:r>
              <a:rPr lang="ja-JP" altLang="en-US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台を</a:t>
            </a:r>
            <a:endParaRPr lang="en-US" altLang="ja-JP" sz="16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defTabSz="457189">
              <a:lnSpc>
                <a:spcPts val="2200"/>
              </a:lnSpc>
            </a:pPr>
            <a:r>
              <a:rPr lang="ja-JP" altLang="en-US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　 　  環境省が補助</a:t>
            </a:r>
          </a:p>
        </p:txBody>
      </p:sp>
      <p:sp>
        <p:nvSpPr>
          <p:cNvPr id="48" name="テキスト ボックス 47"/>
          <p:cNvSpPr txBox="1"/>
          <p:nvPr/>
        </p:nvSpPr>
        <p:spPr>
          <a:xfrm>
            <a:off x="6919185" y="4945323"/>
            <a:ext cx="199766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189"/>
            <a:r>
              <a:rPr lang="ja-JP" altLang="en-US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燃料電池フォークリフト</a:t>
            </a:r>
            <a:endParaRPr lang="en-US" altLang="ja-JP" sz="16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 defTabSz="457189"/>
            <a:r>
              <a:rPr lang="ja-JP" altLang="en-US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→約</a:t>
            </a:r>
            <a:r>
              <a:rPr lang="en-US" altLang="ja-JP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6</a:t>
            </a:r>
            <a:r>
              <a:rPr lang="ja-JP" altLang="en-US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台分</a:t>
            </a:r>
            <a:endParaRPr lang="en-US" altLang="ja-JP" sz="16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 defTabSz="457189"/>
            <a:endParaRPr lang="en-US" altLang="ja-JP" sz="16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0" name="テキスト ボックス 49"/>
          <p:cNvSpPr txBox="1"/>
          <p:nvPr/>
        </p:nvSpPr>
        <p:spPr>
          <a:xfrm>
            <a:off x="6762987" y="2741628"/>
            <a:ext cx="26389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参考）車両価格：約</a:t>
            </a:r>
            <a:r>
              <a:rPr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700</a:t>
            </a:r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万円</a:t>
            </a:r>
            <a:r>
              <a:rPr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/</a:t>
            </a:r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台</a:t>
            </a:r>
            <a:endParaRPr lang="en-US" altLang="ja-JP" sz="12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defTabSz="457189"/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→約</a:t>
            </a:r>
            <a:r>
              <a:rPr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00</a:t>
            </a:r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万円</a:t>
            </a:r>
            <a:r>
              <a:rPr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/</a:t>
            </a:r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台を経産省が補助</a:t>
            </a:r>
          </a:p>
        </p:txBody>
      </p:sp>
      <p:sp>
        <p:nvSpPr>
          <p:cNvPr id="51" name="テキスト ボックス 50"/>
          <p:cNvSpPr txBox="1"/>
          <p:nvPr/>
        </p:nvSpPr>
        <p:spPr>
          <a:xfrm>
            <a:off x="711930" y="5822367"/>
            <a:ext cx="559012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en-US" altLang="ja-JP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</a:t>
            </a:r>
            <a:r>
              <a:rPr lang="ja-JP" altLang="en-US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施設あたりの整備費用：</a:t>
            </a:r>
            <a:r>
              <a:rPr lang="en-US" altLang="ja-JP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.5</a:t>
            </a:r>
            <a:r>
              <a:rPr lang="ja-JP" altLang="en-US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億円程度 →  </a:t>
            </a:r>
            <a:r>
              <a:rPr lang="en-US" altLang="ja-JP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/4</a:t>
            </a:r>
            <a:r>
              <a:rPr lang="ja-JP" altLang="en-US" sz="16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を環境省が補助</a:t>
            </a:r>
            <a:endParaRPr lang="en-US" altLang="ja-JP" sz="16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defTabSz="457189"/>
            <a:endParaRPr lang="en-US" altLang="ja-JP" sz="4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defTabSz="457189"/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参考）水素製造能力は約</a:t>
            </a:r>
            <a:r>
              <a:rPr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0kg/</a:t>
            </a:r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日･･･一日の製造量で</a:t>
            </a:r>
            <a:r>
              <a:rPr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FCFL</a:t>
            </a:r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が約</a:t>
            </a:r>
            <a:r>
              <a:rPr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70</a:t>
            </a:r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時間稼働可能。</a:t>
            </a:r>
            <a:endParaRPr lang="en-US" altLang="ja-JP" sz="12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defTabSz="457189"/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　　　　　　単純計算</a:t>
            </a:r>
            <a:r>
              <a:rPr lang="en-US" altLang="ja-JP" sz="1200" baseline="30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で年間約</a:t>
            </a:r>
            <a:r>
              <a:rPr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.6</a:t>
            </a:r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万時間に相当。</a:t>
            </a:r>
            <a:endParaRPr lang="en-US" altLang="ja-JP" sz="12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2" name="下矢印 51"/>
          <p:cNvSpPr/>
          <p:nvPr/>
        </p:nvSpPr>
        <p:spPr>
          <a:xfrm rot="16200000">
            <a:off x="3219270" y="844706"/>
            <a:ext cx="230521" cy="809899"/>
          </a:xfrm>
          <a:prstGeom prst="downArrow">
            <a:avLst>
              <a:gd name="adj1" fmla="val 50000"/>
              <a:gd name="adj2" fmla="val 169691"/>
            </a:avLst>
          </a:prstGeom>
          <a:solidFill>
            <a:schemeClr val="accent6">
              <a:alpha val="41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ja-JP" altLang="en-US">
              <a:solidFill>
                <a:prstClr val="white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4" name="下矢印 53"/>
          <p:cNvSpPr/>
          <p:nvPr/>
        </p:nvSpPr>
        <p:spPr>
          <a:xfrm rot="16200000">
            <a:off x="2446026" y="4205200"/>
            <a:ext cx="230521" cy="544008"/>
          </a:xfrm>
          <a:prstGeom prst="downArrow">
            <a:avLst>
              <a:gd name="adj1" fmla="val 50000"/>
              <a:gd name="adj2" fmla="val 169691"/>
            </a:avLst>
          </a:prstGeom>
          <a:solidFill>
            <a:schemeClr val="accent6">
              <a:alpha val="41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ja-JP" altLang="en-US">
              <a:solidFill>
                <a:prstClr val="white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58" name="図 57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6667" b="95417" l="1628" r="9953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8858" y="1196106"/>
            <a:ext cx="902831" cy="503905"/>
          </a:xfrm>
          <a:prstGeom prst="rect">
            <a:avLst/>
          </a:prstGeom>
        </p:spPr>
      </p:pic>
      <p:pic>
        <p:nvPicPr>
          <p:cNvPr id="59" name="図 58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6667" b="95417" l="1628" r="9953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1420" y="863937"/>
            <a:ext cx="902831" cy="503905"/>
          </a:xfrm>
          <a:prstGeom prst="rect">
            <a:avLst/>
          </a:prstGeom>
        </p:spPr>
      </p:pic>
      <p:pic>
        <p:nvPicPr>
          <p:cNvPr id="57" name="図 56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6667" b="95417" l="1628" r="9953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5251" y="1205510"/>
            <a:ext cx="902831" cy="503905"/>
          </a:xfrm>
          <a:prstGeom prst="rect">
            <a:avLst/>
          </a:prstGeom>
        </p:spPr>
      </p:pic>
      <p:pic>
        <p:nvPicPr>
          <p:cNvPr id="60" name="図 5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4169" y="3977640"/>
            <a:ext cx="692971" cy="545895"/>
          </a:xfrm>
          <a:prstGeom prst="rect">
            <a:avLst/>
          </a:prstGeom>
        </p:spPr>
      </p:pic>
      <p:pic>
        <p:nvPicPr>
          <p:cNvPr id="61" name="図 6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2438" y="4379987"/>
            <a:ext cx="692971" cy="545895"/>
          </a:xfrm>
          <a:prstGeom prst="rect">
            <a:avLst/>
          </a:prstGeom>
        </p:spPr>
      </p:pic>
      <p:sp>
        <p:nvSpPr>
          <p:cNvPr id="20" name="テキスト ボックス 19"/>
          <p:cNvSpPr txBox="1"/>
          <p:nvPr/>
        </p:nvSpPr>
        <p:spPr>
          <a:xfrm>
            <a:off x="5179428" y="1087920"/>
            <a:ext cx="6751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189"/>
            <a:r>
              <a:rPr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.57m</a:t>
            </a:r>
            <a:endParaRPr lang="ja-JP" altLang="en-US" sz="12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2" name="テキスト ボックス 61"/>
          <p:cNvSpPr txBox="1"/>
          <p:nvPr/>
        </p:nvSpPr>
        <p:spPr>
          <a:xfrm>
            <a:off x="5011824" y="1632815"/>
            <a:ext cx="6751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189"/>
            <a:r>
              <a:rPr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.25m</a:t>
            </a:r>
            <a:endParaRPr lang="ja-JP" altLang="en-US" sz="12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3" name="テキスト ボックス 62"/>
          <p:cNvSpPr txBox="1"/>
          <p:nvPr/>
        </p:nvSpPr>
        <p:spPr>
          <a:xfrm>
            <a:off x="4240638" y="1652703"/>
            <a:ext cx="5790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189"/>
            <a:r>
              <a:rPr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.7m</a:t>
            </a:r>
            <a:endParaRPr lang="ja-JP" altLang="en-US" sz="12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65" name="図 6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256" y="4016967"/>
            <a:ext cx="1114175" cy="833401"/>
          </a:xfrm>
          <a:prstGeom prst="rect">
            <a:avLst/>
          </a:prstGeom>
        </p:spPr>
      </p:pic>
      <p:pic>
        <p:nvPicPr>
          <p:cNvPr id="23" name="図 2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55241" y="4123186"/>
            <a:ext cx="753636" cy="620955"/>
          </a:xfrm>
          <a:prstGeom prst="rect">
            <a:avLst/>
          </a:prstGeom>
        </p:spPr>
      </p:pic>
      <p:pic>
        <p:nvPicPr>
          <p:cNvPr id="25" name="図 2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76519" y="4104018"/>
            <a:ext cx="801696" cy="659291"/>
          </a:xfrm>
          <a:prstGeom prst="rect">
            <a:avLst/>
          </a:prstGeom>
        </p:spPr>
      </p:pic>
      <p:pic>
        <p:nvPicPr>
          <p:cNvPr id="27" name="図 2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49801" y="4249916"/>
            <a:ext cx="829723" cy="367503"/>
          </a:xfrm>
          <a:prstGeom prst="rect">
            <a:avLst/>
          </a:prstGeom>
        </p:spPr>
      </p:pic>
      <p:sp>
        <p:nvSpPr>
          <p:cNvPr id="67" name="テキスト ボックス 66"/>
          <p:cNvSpPr txBox="1"/>
          <p:nvPr/>
        </p:nvSpPr>
        <p:spPr>
          <a:xfrm>
            <a:off x="3104216" y="4890595"/>
            <a:ext cx="5950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189"/>
            <a:r>
              <a:rPr lang="ja-JP" altLang="en-US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製造</a:t>
            </a:r>
            <a:endParaRPr lang="en-US" altLang="ja-JP" sz="16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8" name="テキスト ボックス 67"/>
          <p:cNvSpPr txBox="1"/>
          <p:nvPr/>
        </p:nvSpPr>
        <p:spPr>
          <a:xfrm>
            <a:off x="3964879" y="4890595"/>
            <a:ext cx="5950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189"/>
            <a:r>
              <a:rPr lang="ja-JP" altLang="en-US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圧縮</a:t>
            </a:r>
          </a:p>
        </p:txBody>
      </p:sp>
      <p:sp>
        <p:nvSpPr>
          <p:cNvPr id="69" name="テキスト ボックス 68"/>
          <p:cNvSpPr txBox="1"/>
          <p:nvPr/>
        </p:nvSpPr>
        <p:spPr>
          <a:xfrm>
            <a:off x="4586691" y="4890595"/>
            <a:ext cx="151836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189"/>
            <a:r>
              <a:rPr lang="ja-JP" altLang="en-US" sz="16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貯蔵・充填設備</a:t>
            </a:r>
          </a:p>
        </p:txBody>
      </p:sp>
      <p:sp>
        <p:nvSpPr>
          <p:cNvPr id="70" name="テキスト ボックス 69"/>
          <p:cNvSpPr txBox="1"/>
          <p:nvPr/>
        </p:nvSpPr>
        <p:spPr>
          <a:xfrm>
            <a:off x="6323930" y="6641223"/>
            <a:ext cx="30235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189"/>
            <a:r>
              <a:rPr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実際は、</a:t>
            </a:r>
            <a:r>
              <a:rPr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FCV</a:t>
            </a:r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や</a:t>
            </a:r>
            <a:r>
              <a:rPr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FCFL</a:t>
            </a:r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の稼働状況等による。</a:t>
            </a:r>
          </a:p>
        </p:txBody>
      </p:sp>
      <p:sp>
        <p:nvSpPr>
          <p:cNvPr id="71" name="テキスト ボックス 70"/>
          <p:cNvSpPr txBox="1"/>
          <p:nvPr/>
        </p:nvSpPr>
        <p:spPr>
          <a:xfrm>
            <a:off x="2714559" y="1363405"/>
            <a:ext cx="1257472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ja-JP" altLang="en-US" sz="105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再エネ電気供給</a:t>
            </a:r>
          </a:p>
        </p:txBody>
      </p:sp>
      <p:sp>
        <p:nvSpPr>
          <p:cNvPr id="72" name="テキスト ボックス 71"/>
          <p:cNvSpPr txBox="1"/>
          <p:nvPr/>
        </p:nvSpPr>
        <p:spPr>
          <a:xfrm>
            <a:off x="5847550" y="1385108"/>
            <a:ext cx="1006387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ja-JP" altLang="en-US" sz="105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水素供給</a:t>
            </a:r>
          </a:p>
        </p:txBody>
      </p:sp>
      <p:sp>
        <p:nvSpPr>
          <p:cNvPr id="73" name="テキスト ボックス 72"/>
          <p:cNvSpPr txBox="1"/>
          <p:nvPr/>
        </p:nvSpPr>
        <p:spPr>
          <a:xfrm>
            <a:off x="2001523" y="4694141"/>
            <a:ext cx="1257472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ja-JP" altLang="en-US" sz="105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再エネ電気供給</a:t>
            </a:r>
          </a:p>
        </p:txBody>
      </p:sp>
      <p:sp>
        <p:nvSpPr>
          <p:cNvPr id="74" name="テキスト ボックス 73"/>
          <p:cNvSpPr txBox="1"/>
          <p:nvPr/>
        </p:nvSpPr>
        <p:spPr>
          <a:xfrm>
            <a:off x="5884104" y="4593834"/>
            <a:ext cx="1006387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ja-JP" altLang="en-US" sz="105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水素供給</a:t>
            </a:r>
          </a:p>
        </p:txBody>
      </p:sp>
      <p:sp>
        <p:nvSpPr>
          <p:cNvPr id="30" name="大かっこ 29"/>
          <p:cNvSpPr/>
          <p:nvPr/>
        </p:nvSpPr>
        <p:spPr>
          <a:xfrm>
            <a:off x="6787271" y="2674276"/>
            <a:ext cx="2455616" cy="596367"/>
          </a:xfrm>
          <a:prstGeom prst="bracketPair">
            <a:avLst>
              <a:gd name="adj" fmla="val 7905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189"/>
            <a:endParaRPr lang="ja-JP" altLang="en-US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5" name="大かっこ 74"/>
          <p:cNvSpPr/>
          <p:nvPr/>
        </p:nvSpPr>
        <p:spPr>
          <a:xfrm>
            <a:off x="764178" y="6180758"/>
            <a:ext cx="5559748" cy="376699"/>
          </a:xfrm>
          <a:prstGeom prst="bracketPair">
            <a:avLst>
              <a:gd name="adj" fmla="val 9731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189"/>
            <a:endParaRPr lang="ja-JP" altLang="en-US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6" name="大かっこ 75"/>
          <p:cNvSpPr/>
          <p:nvPr/>
        </p:nvSpPr>
        <p:spPr>
          <a:xfrm>
            <a:off x="745230" y="2996038"/>
            <a:ext cx="5578703" cy="376699"/>
          </a:xfrm>
          <a:prstGeom prst="bracketPair">
            <a:avLst>
              <a:gd name="adj" fmla="val 9731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189"/>
            <a:endParaRPr lang="ja-JP" altLang="en-US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3" name="下矢印 52"/>
          <p:cNvSpPr/>
          <p:nvPr/>
        </p:nvSpPr>
        <p:spPr>
          <a:xfrm rot="16200000">
            <a:off x="6084809" y="843342"/>
            <a:ext cx="230521" cy="809899"/>
          </a:xfrm>
          <a:prstGeom prst="downArrow">
            <a:avLst>
              <a:gd name="adj1" fmla="val 50000"/>
              <a:gd name="adj2" fmla="val 169691"/>
            </a:avLst>
          </a:prstGeom>
          <a:solidFill>
            <a:schemeClr val="accent6">
              <a:alpha val="41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ja-JP" altLang="en-US">
              <a:solidFill>
                <a:prstClr val="white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5" name="下矢印 54"/>
          <p:cNvSpPr/>
          <p:nvPr/>
        </p:nvSpPr>
        <p:spPr>
          <a:xfrm rot="16200000">
            <a:off x="6102454" y="4126519"/>
            <a:ext cx="230521" cy="701372"/>
          </a:xfrm>
          <a:prstGeom prst="downArrow">
            <a:avLst>
              <a:gd name="adj1" fmla="val 50000"/>
              <a:gd name="adj2" fmla="val 169691"/>
            </a:avLst>
          </a:prstGeom>
          <a:solidFill>
            <a:schemeClr val="accent6">
              <a:alpha val="41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ja-JP" altLang="en-US">
              <a:solidFill>
                <a:prstClr val="white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5" name="右中かっこ 34"/>
          <p:cNvSpPr/>
          <p:nvPr/>
        </p:nvSpPr>
        <p:spPr>
          <a:xfrm rot="5400000">
            <a:off x="3469457" y="-151703"/>
            <a:ext cx="233309" cy="4755048"/>
          </a:xfrm>
          <a:prstGeom prst="rightBrace">
            <a:avLst>
              <a:gd name="adj1" fmla="val 8333"/>
              <a:gd name="adj2" fmla="val 90841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189"/>
            <a:endParaRPr lang="ja-JP" altLang="en-US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0" name="正方形/長方形 79"/>
          <p:cNvSpPr/>
          <p:nvPr/>
        </p:nvSpPr>
        <p:spPr>
          <a:xfrm>
            <a:off x="627483" y="2559103"/>
            <a:ext cx="5791913" cy="91175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ja-JP" altLang="en-US" sz="12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9" name="正方形/長方形 78"/>
          <p:cNvSpPr/>
          <p:nvPr/>
        </p:nvSpPr>
        <p:spPr>
          <a:xfrm>
            <a:off x="732689" y="2406697"/>
            <a:ext cx="1973500" cy="23193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再エネ水素ステーション</a:t>
            </a:r>
          </a:p>
        </p:txBody>
      </p:sp>
      <p:sp>
        <p:nvSpPr>
          <p:cNvPr id="81" name="正方形/長方形 80"/>
          <p:cNvSpPr/>
          <p:nvPr/>
        </p:nvSpPr>
        <p:spPr>
          <a:xfrm>
            <a:off x="634226" y="5673191"/>
            <a:ext cx="5791913" cy="94859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ja-JP" altLang="en-US" sz="12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2" name="正方形/長方形 81"/>
          <p:cNvSpPr/>
          <p:nvPr/>
        </p:nvSpPr>
        <p:spPr>
          <a:xfrm>
            <a:off x="745222" y="5573199"/>
            <a:ext cx="1973500" cy="23193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r>
              <a:rPr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再エネ水素ステーション</a:t>
            </a:r>
          </a:p>
        </p:txBody>
      </p:sp>
      <p:sp>
        <p:nvSpPr>
          <p:cNvPr id="83" name="右中かっこ 82"/>
          <p:cNvSpPr/>
          <p:nvPr/>
        </p:nvSpPr>
        <p:spPr>
          <a:xfrm rot="5400000">
            <a:off x="3351658" y="2661594"/>
            <a:ext cx="250699" cy="5408715"/>
          </a:xfrm>
          <a:prstGeom prst="rightBrace">
            <a:avLst>
              <a:gd name="adj1" fmla="val 8333"/>
              <a:gd name="adj2" fmla="val 90841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189"/>
            <a:endParaRPr lang="ja-JP" altLang="en-US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" name="正方形/長方形 1"/>
          <p:cNvSpPr/>
          <p:nvPr/>
        </p:nvSpPr>
        <p:spPr>
          <a:xfrm>
            <a:off x="1049258" y="68786"/>
            <a:ext cx="768821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189"/>
            <a:r>
              <a:rPr lang="ja-JP" altLang="en-US" sz="24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地域再エネ水素ステーション導入事業のイメージ</a:t>
            </a:r>
          </a:p>
        </p:txBody>
      </p:sp>
      <p:sp>
        <p:nvSpPr>
          <p:cNvPr id="66" name="テキスト ボックス 65"/>
          <p:cNvSpPr txBox="1"/>
          <p:nvPr/>
        </p:nvSpPr>
        <p:spPr>
          <a:xfrm>
            <a:off x="9217025" y="6525344"/>
            <a:ext cx="6309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solidFill>
                  <a:prstClr val="white">
                    <a:lumMod val="50000"/>
                  </a:prstClr>
                </a:solidFill>
                <a:latin typeface="メイリオ"/>
                <a:ea typeface="メイリオ"/>
              </a:rPr>
              <a:t>2</a:t>
            </a:r>
            <a:endParaRPr lang="ja-JP" altLang="en-US" b="1" dirty="0">
              <a:solidFill>
                <a:prstClr val="white">
                  <a:lumMod val="50000"/>
                </a:prstClr>
              </a:solidFill>
              <a:latin typeface="メイリオ"/>
              <a:ea typeface="メイリオ"/>
            </a:endParaRPr>
          </a:p>
        </p:txBody>
      </p:sp>
    </p:spTree>
    <p:extLst>
      <p:ext uri="{BB962C8B-B14F-4D97-AF65-F5344CB8AC3E}">
        <p14:creationId xmlns:p14="http://schemas.microsoft.com/office/powerpoint/2010/main" val="40380236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149731" y="735228"/>
            <a:ext cx="9615552" cy="5760640"/>
          </a:xfrm>
          <a:ln>
            <a:solidFill>
              <a:schemeClr val="tx1"/>
            </a:solidFill>
          </a:ln>
        </p:spPr>
        <p:txBody>
          <a:bodyPr anchor="ctr" anchorCtr="0">
            <a:normAutofit/>
          </a:bodyPr>
          <a:lstStyle/>
          <a:p>
            <a:pPr marL="0" indent="0">
              <a:lnSpc>
                <a:spcPts val="1600"/>
              </a:lnSpc>
              <a:buNone/>
              <a:defRPr/>
            </a:pPr>
            <a:r>
              <a:rPr lang="ja-JP" altLang="en-US" sz="2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地方公共団体・民間企業等が実施する水素事業に補助</a:t>
            </a:r>
            <a:endParaRPr lang="en-US" altLang="ja-JP" sz="24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indent="0">
              <a:lnSpc>
                <a:spcPts val="1600"/>
              </a:lnSpc>
              <a:buNone/>
              <a:defRPr/>
            </a:pPr>
            <a:endParaRPr lang="en-US" altLang="ja-JP" sz="24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indent="0">
              <a:lnSpc>
                <a:spcPts val="2600"/>
              </a:lnSpc>
              <a:buNone/>
              <a:defRPr/>
            </a:pPr>
            <a:r>
              <a:rPr lang="ja-JP" altLang="en-US" sz="2400" u="sng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（１）再エネ由来水素ステーション設置費用</a:t>
            </a:r>
            <a:endParaRPr lang="en-US" altLang="ja-JP" sz="2400" u="sng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indent="0">
              <a:lnSpc>
                <a:spcPts val="2600"/>
              </a:lnSpc>
              <a:buNone/>
              <a:defRPr/>
            </a:pPr>
            <a:r>
              <a:rPr lang="en-US" altLang="ja-JP" sz="2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	</a:t>
            </a:r>
            <a:r>
              <a:rPr lang="ja-JP" altLang="en-US" sz="2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補助率　</a:t>
            </a:r>
            <a:r>
              <a:rPr lang="en-US" altLang="ja-JP" sz="2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3/4</a:t>
            </a:r>
            <a:r>
              <a:rPr lang="ja-JP" altLang="en-US" sz="24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または</a:t>
            </a:r>
            <a:r>
              <a:rPr lang="en-US" altLang="ja-JP" sz="24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1/2</a:t>
            </a:r>
          </a:p>
          <a:p>
            <a:pPr marL="400041" lvl="1" indent="0">
              <a:lnSpc>
                <a:spcPts val="2600"/>
              </a:lnSpc>
              <a:buNone/>
              <a:defRPr/>
            </a:pPr>
            <a:r>
              <a:rPr lang="ja-JP" altLang="en-US" sz="2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　</a:t>
            </a:r>
            <a:r>
              <a:rPr lang="en-US" altLang="ja-JP" sz="2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2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太陽光パネル</a:t>
            </a:r>
            <a:r>
              <a:rPr lang="ja-JP" altLang="ja-JP" sz="24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等の再エネ設備、水素製造・圧縮・充填等</a:t>
            </a:r>
            <a:endParaRPr lang="en-US" altLang="ja-JP" sz="24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400041" lvl="1" indent="0">
              <a:lnSpc>
                <a:spcPts val="2600"/>
              </a:lnSpc>
              <a:buNone/>
              <a:defRPr/>
            </a:pPr>
            <a:r>
              <a:rPr lang="ja-JP" altLang="en-US" sz="24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</a:t>
            </a:r>
            <a:r>
              <a:rPr lang="ja-JP" altLang="ja-JP" sz="24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の設備、安全設備等のハード設備一式と関連工事費</a:t>
            </a:r>
            <a:r>
              <a:rPr lang="ja-JP" altLang="en-US" sz="24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が</a:t>
            </a:r>
            <a:r>
              <a:rPr lang="ja-JP" altLang="ja-JP" sz="24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補助対象</a:t>
            </a:r>
            <a:endParaRPr lang="ja-JP" altLang="en-US" sz="24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indent="0">
              <a:lnSpc>
                <a:spcPts val="2600"/>
              </a:lnSpc>
              <a:buNone/>
              <a:defRPr/>
            </a:pPr>
            <a:endParaRPr lang="ja-JP" altLang="en-US" sz="24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539987" indent="-457189">
              <a:lnSpc>
                <a:spcPts val="2600"/>
              </a:lnSpc>
              <a:buNone/>
              <a:defRPr/>
            </a:pPr>
            <a:r>
              <a:rPr lang="ja-JP" altLang="en-US" sz="2400" u="sng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（２）再エネ由来水素ステーション保守点検費用</a:t>
            </a:r>
            <a:endParaRPr lang="en-US" altLang="ja-JP" sz="2400" u="sng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539987" indent="-457189">
              <a:lnSpc>
                <a:spcPts val="2600"/>
              </a:lnSpc>
              <a:buNone/>
              <a:defRPr/>
            </a:pPr>
            <a:r>
              <a:rPr lang="en-US" altLang="ja-JP" sz="2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		</a:t>
            </a:r>
            <a:r>
              <a:rPr lang="ja-JP" altLang="en-US" sz="2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（稼働初期における年一回の定期的な保守点検費用）</a:t>
            </a:r>
            <a:endParaRPr lang="en-US" altLang="ja-JP" sz="24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611985" indent="-431989">
              <a:lnSpc>
                <a:spcPts val="2600"/>
              </a:lnSpc>
              <a:buNone/>
              <a:defRPr/>
            </a:pPr>
            <a:r>
              <a:rPr lang="en-US" altLang="ja-JP" sz="2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		</a:t>
            </a:r>
            <a:r>
              <a:rPr lang="ja-JP" altLang="en-US" sz="2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補助率　</a:t>
            </a:r>
            <a:r>
              <a:rPr lang="en-US" altLang="ja-JP" sz="2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2/3</a:t>
            </a:r>
          </a:p>
          <a:p>
            <a:pPr marL="539987" indent="-457189">
              <a:lnSpc>
                <a:spcPts val="2600"/>
              </a:lnSpc>
              <a:buNone/>
              <a:defRPr/>
            </a:pPr>
            <a:r>
              <a:rPr lang="en-US" altLang="ja-JP" sz="2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		</a:t>
            </a:r>
            <a:endParaRPr lang="ja-JP" altLang="en-US" sz="24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539987" indent="-457189">
              <a:lnSpc>
                <a:spcPts val="2600"/>
              </a:lnSpc>
              <a:buNone/>
              <a:defRPr/>
            </a:pPr>
            <a:r>
              <a:rPr lang="ja-JP" altLang="en-US" sz="2400" u="sng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（３）燃料電池バス及び燃料電池</a:t>
            </a:r>
            <a:r>
              <a:rPr lang="ja-JP" altLang="en-US" sz="2400" u="sng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フォークリフト導入費用</a:t>
            </a:r>
            <a:endParaRPr lang="en-US" altLang="ja-JP" sz="2400" u="sng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539987" indent="-457189">
              <a:lnSpc>
                <a:spcPts val="2600"/>
              </a:lnSpc>
              <a:buNone/>
              <a:defRPr/>
            </a:pPr>
            <a:r>
              <a:rPr lang="en-US" altLang="ja-JP" sz="2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		</a:t>
            </a:r>
            <a:r>
              <a:rPr lang="ja-JP" altLang="en-US" sz="2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補助率　燃料電池バス：車両本体価格の</a:t>
            </a:r>
            <a:r>
              <a:rPr lang="en-US" altLang="ja-JP" sz="2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1/3</a:t>
            </a:r>
          </a:p>
          <a:p>
            <a:pPr marL="539987" indent="-457189">
              <a:lnSpc>
                <a:spcPts val="2600"/>
              </a:lnSpc>
              <a:buNone/>
              <a:defRPr/>
            </a:pPr>
            <a:r>
              <a:rPr lang="en-US" altLang="ja-JP" sz="2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			</a:t>
            </a:r>
            <a:r>
              <a:rPr lang="ja-JP" altLang="en-US" sz="2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　燃料電池フォークリフト：エンジン車との差額の</a:t>
            </a:r>
            <a:r>
              <a:rPr lang="en-US" altLang="ja-JP" sz="2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1/2</a:t>
            </a:r>
          </a:p>
        </p:txBody>
      </p:sp>
      <p:sp>
        <p:nvSpPr>
          <p:cNvPr id="20483" name="タイトル 1"/>
          <p:cNvSpPr txBox="1">
            <a:spLocks/>
          </p:cNvSpPr>
          <p:nvPr/>
        </p:nvSpPr>
        <p:spPr bwMode="auto">
          <a:xfrm>
            <a:off x="419107" y="115893"/>
            <a:ext cx="8912225" cy="628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TW" altLang="en-US" sz="3200" b="1" u="sng" dirty="0">
                <a:solidFill>
                  <a:prstClr val="black"/>
                </a:solidFill>
                <a:latin typeface="メイリオ" panose="020B0604030504040204" pitchFamily="50" charset="-128"/>
              </a:rPr>
              <a:t>補助</a:t>
            </a:r>
            <a:r>
              <a:rPr lang="ja-JP" altLang="en-US" sz="3200" b="1" u="sng" dirty="0">
                <a:solidFill>
                  <a:prstClr val="black"/>
                </a:solidFill>
                <a:latin typeface="メイリオ" panose="020B0604030504040204" pitchFamily="50" charset="-128"/>
              </a:rPr>
              <a:t>金の使い道と補助度合い</a:t>
            </a:r>
          </a:p>
        </p:txBody>
      </p:sp>
      <p:sp>
        <p:nvSpPr>
          <p:cNvPr id="5" name="テキスト ボックス 4"/>
          <p:cNvSpPr txBox="1"/>
          <p:nvPr/>
        </p:nvSpPr>
        <p:spPr>
          <a:xfrm>
            <a:off x="9217025" y="6525344"/>
            <a:ext cx="6309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ja-JP" b="1" dirty="0">
                <a:solidFill>
                  <a:prstClr val="white">
                    <a:lumMod val="50000"/>
                  </a:prstClr>
                </a:solidFill>
                <a:latin typeface="メイリオ"/>
                <a:ea typeface="メイリオ"/>
              </a:rPr>
              <a:t>3</a:t>
            </a:r>
            <a:endParaRPr lang="ja-JP" altLang="en-US" b="1" dirty="0">
              <a:solidFill>
                <a:prstClr val="white">
                  <a:lumMod val="50000"/>
                </a:prstClr>
              </a:solidFill>
              <a:latin typeface="メイリオ"/>
              <a:ea typeface="メイリオ"/>
            </a:endParaRPr>
          </a:p>
        </p:txBody>
      </p:sp>
    </p:spTree>
    <p:extLst>
      <p:ext uri="{BB962C8B-B14F-4D97-AF65-F5344CB8AC3E}">
        <p14:creationId xmlns:p14="http://schemas.microsoft.com/office/powerpoint/2010/main" val="3745497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タイトル 3"/>
          <p:cNvSpPr>
            <a:spLocks noGrp="1"/>
          </p:cNvSpPr>
          <p:nvPr>
            <p:ph type="title"/>
          </p:nvPr>
        </p:nvSpPr>
        <p:spPr>
          <a:xfrm>
            <a:off x="200030" y="188918"/>
            <a:ext cx="9490075" cy="650875"/>
          </a:xfrm>
        </p:spPr>
        <p:txBody>
          <a:bodyPr anchor="ctr">
            <a:normAutofit fontScale="90000"/>
          </a:bodyPr>
          <a:lstStyle/>
          <a:p>
            <a:pPr algn="ctr" eaLnBrk="1" hangingPunct="1"/>
            <a:r>
              <a:rPr lang="ja-JP" altLang="en-US" sz="2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地域再エネ水素ステーション導入事業による導入状況 </a:t>
            </a:r>
            <a:br>
              <a:rPr lang="en-US" altLang="ja-JP" sz="2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</a:br>
            <a:r>
              <a:rPr lang="ja-JP" altLang="en-US" sz="2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（</a:t>
            </a:r>
            <a:r>
              <a:rPr lang="en-US" altLang="ja-JP" sz="2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018</a:t>
            </a:r>
            <a:r>
              <a:rPr lang="ja-JP" altLang="en-US" sz="2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</a:t>
            </a:r>
            <a:r>
              <a:rPr lang="en-US" altLang="ja-JP" sz="2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3</a:t>
            </a:r>
            <a:r>
              <a:rPr lang="ja-JP" altLang="en-US" sz="2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月時点）</a:t>
            </a:r>
          </a:p>
        </p:txBody>
      </p:sp>
      <p:sp>
        <p:nvSpPr>
          <p:cNvPr id="21507" name="Freeform 5"/>
          <p:cNvSpPr>
            <a:spLocks noChangeAspect="1"/>
          </p:cNvSpPr>
          <p:nvPr/>
        </p:nvSpPr>
        <p:spPr bwMode="gray">
          <a:xfrm>
            <a:off x="3263906" y="4340554"/>
            <a:ext cx="376239" cy="239713"/>
          </a:xfrm>
          <a:custGeom>
            <a:avLst/>
            <a:gdLst>
              <a:gd name="T0" fmla="*/ 2147483647 w 303"/>
              <a:gd name="T1" fmla="*/ 2147483647 h 219"/>
              <a:gd name="T2" fmla="*/ 2147483647 w 303"/>
              <a:gd name="T3" fmla="*/ 0 h 219"/>
              <a:gd name="T4" fmla="*/ 2147483647 w 303"/>
              <a:gd name="T5" fmla="*/ 0 h 219"/>
              <a:gd name="T6" fmla="*/ 2147483647 w 303"/>
              <a:gd name="T7" fmla="*/ 2147483647 h 219"/>
              <a:gd name="T8" fmla="*/ 2147483647 w 303"/>
              <a:gd name="T9" fmla="*/ 2147483647 h 219"/>
              <a:gd name="T10" fmla="*/ 2147483647 w 303"/>
              <a:gd name="T11" fmla="*/ 2147483647 h 219"/>
              <a:gd name="T12" fmla="*/ 0 w 303"/>
              <a:gd name="T13" fmla="*/ 2147483647 h 219"/>
              <a:gd name="T14" fmla="*/ 2147483647 w 303"/>
              <a:gd name="T15" fmla="*/ 2147483647 h 219"/>
              <a:gd name="T16" fmla="*/ 2147483647 w 303"/>
              <a:gd name="T17" fmla="*/ 2147483647 h 219"/>
              <a:gd name="T18" fmla="*/ 2147483647 w 303"/>
              <a:gd name="T19" fmla="*/ 2147483647 h 219"/>
              <a:gd name="T20" fmla="*/ 2147483647 w 303"/>
              <a:gd name="T21" fmla="*/ 2147483647 h 219"/>
              <a:gd name="T22" fmla="*/ 2147483647 w 303"/>
              <a:gd name="T23" fmla="*/ 2147483647 h 219"/>
              <a:gd name="T24" fmla="*/ 2147483647 w 303"/>
              <a:gd name="T25" fmla="*/ 2147483647 h 219"/>
              <a:gd name="T26" fmla="*/ 2147483647 w 303"/>
              <a:gd name="T27" fmla="*/ 2147483647 h 219"/>
              <a:gd name="T28" fmla="*/ 2147483647 w 303"/>
              <a:gd name="T29" fmla="*/ 2147483647 h 219"/>
              <a:gd name="T30" fmla="*/ 2147483647 w 303"/>
              <a:gd name="T31" fmla="*/ 2147483647 h 219"/>
              <a:gd name="T32" fmla="*/ 2147483647 w 303"/>
              <a:gd name="T33" fmla="*/ 2147483647 h 219"/>
              <a:gd name="T34" fmla="*/ 2147483647 w 303"/>
              <a:gd name="T35" fmla="*/ 2147483647 h 219"/>
              <a:gd name="T36" fmla="*/ 2147483647 w 303"/>
              <a:gd name="T37" fmla="*/ 2147483647 h 219"/>
              <a:gd name="T38" fmla="*/ 2147483647 w 303"/>
              <a:gd name="T39" fmla="*/ 2147483647 h 21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303" h="219">
                <a:moveTo>
                  <a:pt x="276" y="10"/>
                </a:moveTo>
                <a:lnTo>
                  <a:pt x="246" y="0"/>
                </a:lnTo>
                <a:lnTo>
                  <a:pt x="180" y="0"/>
                </a:lnTo>
                <a:lnTo>
                  <a:pt x="136" y="52"/>
                </a:lnTo>
                <a:lnTo>
                  <a:pt x="40" y="75"/>
                </a:lnTo>
                <a:lnTo>
                  <a:pt x="13" y="111"/>
                </a:lnTo>
                <a:lnTo>
                  <a:pt x="0" y="158"/>
                </a:lnTo>
                <a:lnTo>
                  <a:pt x="12" y="198"/>
                </a:lnTo>
                <a:lnTo>
                  <a:pt x="27" y="207"/>
                </a:lnTo>
                <a:lnTo>
                  <a:pt x="36" y="198"/>
                </a:lnTo>
                <a:lnTo>
                  <a:pt x="75" y="171"/>
                </a:lnTo>
                <a:lnTo>
                  <a:pt x="84" y="179"/>
                </a:lnTo>
                <a:lnTo>
                  <a:pt x="96" y="213"/>
                </a:lnTo>
                <a:lnTo>
                  <a:pt x="113" y="219"/>
                </a:lnTo>
                <a:lnTo>
                  <a:pt x="150" y="192"/>
                </a:lnTo>
                <a:lnTo>
                  <a:pt x="186" y="188"/>
                </a:lnTo>
                <a:lnTo>
                  <a:pt x="242" y="177"/>
                </a:lnTo>
                <a:lnTo>
                  <a:pt x="265" y="188"/>
                </a:lnTo>
                <a:lnTo>
                  <a:pt x="303" y="152"/>
                </a:lnTo>
                <a:lnTo>
                  <a:pt x="276" y="10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6" name="Freeform 6"/>
          <p:cNvSpPr>
            <a:spLocks noChangeAspect="1"/>
          </p:cNvSpPr>
          <p:nvPr/>
        </p:nvSpPr>
        <p:spPr bwMode="gray">
          <a:xfrm>
            <a:off x="3263906" y="4340554"/>
            <a:ext cx="376239" cy="239713"/>
          </a:xfrm>
          <a:custGeom>
            <a:avLst/>
            <a:gdLst/>
            <a:ahLst/>
            <a:cxnLst>
              <a:cxn ang="0">
                <a:pos x="276" y="10"/>
              </a:cxn>
              <a:cxn ang="0">
                <a:pos x="246" y="0"/>
              </a:cxn>
              <a:cxn ang="0">
                <a:pos x="180" y="0"/>
              </a:cxn>
              <a:cxn ang="0">
                <a:pos x="136" y="52"/>
              </a:cxn>
              <a:cxn ang="0">
                <a:pos x="40" y="75"/>
              </a:cxn>
              <a:cxn ang="0">
                <a:pos x="13" y="111"/>
              </a:cxn>
              <a:cxn ang="0">
                <a:pos x="0" y="158"/>
              </a:cxn>
              <a:cxn ang="0">
                <a:pos x="12" y="198"/>
              </a:cxn>
              <a:cxn ang="0">
                <a:pos x="27" y="207"/>
              </a:cxn>
              <a:cxn ang="0">
                <a:pos x="36" y="198"/>
              </a:cxn>
              <a:cxn ang="0">
                <a:pos x="75" y="171"/>
              </a:cxn>
              <a:cxn ang="0">
                <a:pos x="84" y="179"/>
              </a:cxn>
              <a:cxn ang="0">
                <a:pos x="96" y="213"/>
              </a:cxn>
              <a:cxn ang="0">
                <a:pos x="113" y="219"/>
              </a:cxn>
              <a:cxn ang="0">
                <a:pos x="150" y="192"/>
              </a:cxn>
              <a:cxn ang="0">
                <a:pos x="186" y="188"/>
              </a:cxn>
              <a:cxn ang="0">
                <a:pos x="242" y="177"/>
              </a:cxn>
              <a:cxn ang="0">
                <a:pos x="265" y="188"/>
              </a:cxn>
              <a:cxn ang="0">
                <a:pos x="303" y="152"/>
              </a:cxn>
              <a:cxn ang="0">
                <a:pos x="276" y="10"/>
              </a:cxn>
            </a:cxnLst>
            <a:rect l="0" t="0" r="r" b="b"/>
            <a:pathLst>
              <a:path w="303" h="219">
                <a:moveTo>
                  <a:pt x="276" y="10"/>
                </a:moveTo>
                <a:lnTo>
                  <a:pt x="246" y="0"/>
                </a:lnTo>
                <a:lnTo>
                  <a:pt x="180" y="0"/>
                </a:lnTo>
                <a:lnTo>
                  <a:pt x="136" y="52"/>
                </a:lnTo>
                <a:lnTo>
                  <a:pt x="40" y="75"/>
                </a:lnTo>
                <a:lnTo>
                  <a:pt x="13" y="111"/>
                </a:lnTo>
                <a:lnTo>
                  <a:pt x="0" y="158"/>
                </a:lnTo>
                <a:lnTo>
                  <a:pt x="12" y="198"/>
                </a:lnTo>
                <a:lnTo>
                  <a:pt x="27" y="207"/>
                </a:lnTo>
                <a:lnTo>
                  <a:pt x="36" y="198"/>
                </a:lnTo>
                <a:lnTo>
                  <a:pt x="75" y="171"/>
                </a:lnTo>
                <a:lnTo>
                  <a:pt x="84" y="179"/>
                </a:lnTo>
                <a:lnTo>
                  <a:pt x="96" y="213"/>
                </a:lnTo>
                <a:lnTo>
                  <a:pt x="113" y="219"/>
                </a:lnTo>
                <a:lnTo>
                  <a:pt x="150" y="192"/>
                </a:lnTo>
                <a:lnTo>
                  <a:pt x="186" y="188"/>
                </a:lnTo>
                <a:lnTo>
                  <a:pt x="242" y="177"/>
                </a:lnTo>
                <a:lnTo>
                  <a:pt x="265" y="188"/>
                </a:lnTo>
                <a:lnTo>
                  <a:pt x="303" y="152"/>
                </a:lnTo>
                <a:lnTo>
                  <a:pt x="276" y="10"/>
                </a:lnTo>
              </a:path>
            </a:pathLst>
          </a:custGeom>
          <a:solidFill>
            <a:schemeClr val="bg1">
              <a:lumMod val="75000"/>
            </a:schemeClr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8" name="Freeform 8"/>
          <p:cNvSpPr>
            <a:spLocks noChangeAspect="1"/>
          </p:cNvSpPr>
          <p:nvPr/>
        </p:nvSpPr>
        <p:spPr bwMode="gray">
          <a:xfrm>
            <a:off x="5316543" y="2443490"/>
            <a:ext cx="474663" cy="385763"/>
          </a:xfrm>
          <a:custGeom>
            <a:avLst/>
            <a:gdLst/>
            <a:ahLst/>
            <a:cxnLst>
              <a:cxn ang="0">
                <a:pos x="26" y="312"/>
              </a:cxn>
              <a:cxn ang="0">
                <a:pos x="13" y="282"/>
              </a:cxn>
              <a:cxn ang="0">
                <a:pos x="0" y="243"/>
              </a:cxn>
              <a:cxn ang="0">
                <a:pos x="36" y="205"/>
              </a:cxn>
              <a:cxn ang="0">
                <a:pos x="63" y="205"/>
              </a:cxn>
              <a:cxn ang="0">
                <a:pos x="86" y="168"/>
              </a:cxn>
              <a:cxn ang="0">
                <a:pos x="88" y="147"/>
              </a:cxn>
              <a:cxn ang="0">
                <a:pos x="99" y="136"/>
              </a:cxn>
              <a:cxn ang="0">
                <a:pos x="86" y="103"/>
              </a:cxn>
              <a:cxn ang="0">
                <a:pos x="98" y="78"/>
              </a:cxn>
              <a:cxn ang="0">
                <a:pos x="121" y="94"/>
              </a:cxn>
              <a:cxn ang="0">
                <a:pos x="140" y="84"/>
              </a:cxn>
              <a:cxn ang="0">
                <a:pos x="151" y="99"/>
              </a:cxn>
              <a:cxn ang="0">
                <a:pos x="155" y="166"/>
              </a:cxn>
              <a:cxn ang="0">
                <a:pos x="165" y="180"/>
              </a:cxn>
              <a:cxn ang="0">
                <a:pos x="192" y="180"/>
              </a:cxn>
              <a:cxn ang="0">
                <a:pos x="201" y="163"/>
              </a:cxn>
              <a:cxn ang="0">
                <a:pos x="205" y="138"/>
              </a:cxn>
              <a:cxn ang="0">
                <a:pos x="253" y="165"/>
              </a:cxn>
              <a:cxn ang="0">
                <a:pos x="272" y="143"/>
              </a:cxn>
              <a:cxn ang="0">
                <a:pos x="278" y="90"/>
              </a:cxn>
              <a:cxn ang="0">
                <a:pos x="264" y="67"/>
              </a:cxn>
              <a:cxn ang="0">
                <a:pos x="253" y="67"/>
              </a:cxn>
              <a:cxn ang="0">
                <a:pos x="230" y="84"/>
              </a:cxn>
              <a:cxn ang="0">
                <a:pos x="186" y="95"/>
              </a:cxn>
              <a:cxn ang="0">
                <a:pos x="186" y="49"/>
              </a:cxn>
              <a:cxn ang="0">
                <a:pos x="207" y="0"/>
              </a:cxn>
              <a:cxn ang="0">
                <a:pos x="247" y="13"/>
              </a:cxn>
              <a:cxn ang="0">
                <a:pos x="282" y="40"/>
              </a:cxn>
              <a:cxn ang="0">
                <a:pos x="311" y="30"/>
              </a:cxn>
              <a:cxn ang="0">
                <a:pos x="320" y="207"/>
              </a:cxn>
              <a:cxn ang="0">
                <a:pos x="330" y="249"/>
              </a:cxn>
              <a:cxn ang="0">
                <a:pos x="360" y="264"/>
              </a:cxn>
              <a:cxn ang="0">
                <a:pos x="380" y="295"/>
              </a:cxn>
              <a:cxn ang="0">
                <a:pos x="332" y="310"/>
              </a:cxn>
              <a:cxn ang="0">
                <a:pos x="251" y="353"/>
              </a:cxn>
              <a:cxn ang="0">
                <a:pos x="234" y="341"/>
              </a:cxn>
              <a:cxn ang="0">
                <a:pos x="243" y="310"/>
              </a:cxn>
              <a:cxn ang="0">
                <a:pos x="234" y="293"/>
              </a:cxn>
              <a:cxn ang="0">
                <a:pos x="220" y="299"/>
              </a:cxn>
              <a:cxn ang="0">
                <a:pos x="205" y="280"/>
              </a:cxn>
              <a:cxn ang="0">
                <a:pos x="161" y="301"/>
              </a:cxn>
              <a:cxn ang="0">
                <a:pos x="124" y="282"/>
              </a:cxn>
              <a:cxn ang="0">
                <a:pos x="86" y="293"/>
              </a:cxn>
              <a:cxn ang="0">
                <a:pos x="48" y="293"/>
              </a:cxn>
              <a:cxn ang="0">
                <a:pos x="26" y="312"/>
              </a:cxn>
            </a:cxnLst>
            <a:rect l="0" t="0" r="r" b="b"/>
            <a:pathLst>
              <a:path w="380" h="353">
                <a:moveTo>
                  <a:pt x="26" y="312"/>
                </a:moveTo>
                <a:lnTo>
                  <a:pt x="13" y="282"/>
                </a:lnTo>
                <a:lnTo>
                  <a:pt x="0" y="243"/>
                </a:lnTo>
                <a:lnTo>
                  <a:pt x="36" y="205"/>
                </a:lnTo>
                <a:lnTo>
                  <a:pt x="63" y="205"/>
                </a:lnTo>
                <a:lnTo>
                  <a:pt x="86" y="168"/>
                </a:lnTo>
                <a:lnTo>
                  <a:pt x="88" y="147"/>
                </a:lnTo>
                <a:lnTo>
                  <a:pt x="99" y="136"/>
                </a:lnTo>
                <a:lnTo>
                  <a:pt x="86" y="103"/>
                </a:lnTo>
                <a:lnTo>
                  <a:pt x="98" y="78"/>
                </a:lnTo>
                <a:lnTo>
                  <a:pt x="121" y="94"/>
                </a:lnTo>
                <a:lnTo>
                  <a:pt x="140" y="84"/>
                </a:lnTo>
                <a:lnTo>
                  <a:pt x="151" y="99"/>
                </a:lnTo>
                <a:lnTo>
                  <a:pt x="155" y="166"/>
                </a:lnTo>
                <a:lnTo>
                  <a:pt x="165" y="180"/>
                </a:lnTo>
                <a:lnTo>
                  <a:pt x="192" y="180"/>
                </a:lnTo>
                <a:lnTo>
                  <a:pt x="201" y="163"/>
                </a:lnTo>
                <a:lnTo>
                  <a:pt x="205" y="138"/>
                </a:lnTo>
                <a:lnTo>
                  <a:pt x="253" y="165"/>
                </a:lnTo>
                <a:lnTo>
                  <a:pt x="272" y="143"/>
                </a:lnTo>
                <a:lnTo>
                  <a:pt x="278" y="90"/>
                </a:lnTo>
                <a:lnTo>
                  <a:pt x="264" y="67"/>
                </a:lnTo>
                <a:lnTo>
                  <a:pt x="253" y="67"/>
                </a:lnTo>
                <a:lnTo>
                  <a:pt x="230" y="84"/>
                </a:lnTo>
                <a:lnTo>
                  <a:pt x="186" y="95"/>
                </a:lnTo>
                <a:lnTo>
                  <a:pt x="186" y="49"/>
                </a:lnTo>
                <a:lnTo>
                  <a:pt x="207" y="0"/>
                </a:lnTo>
                <a:lnTo>
                  <a:pt x="247" y="13"/>
                </a:lnTo>
                <a:lnTo>
                  <a:pt x="282" y="40"/>
                </a:lnTo>
                <a:lnTo>
                  <a:pt x="311" y="30"/>
                </a:lnTo>
                <a:lnTo>
                  <a:pt x="320" y="207"/>
                </a:lnTo>
                <a:lnTo>
                  <a:pt x="330" y="249"/>
                </a:lnTo>
                <a:lnTo>
                  <a:pt x="360" y="264"/>
                </a:lnTo>
                <a:lnTo>
                  <a:pt x="380" y="295"/>
                </a:lnTo>
                <a:lnTo>
                  <a:pt x="332" y="310"/>
                </a:lnTo>
                <a:lnTo>
                  <a:pt x="251" y="353"/>
                </a:lnTo>
                <a:lnTo>
                  <a:pt x="234" y="341"/>
                </a:lnTo>
                <a:lnTo>
                  <a:pt x="243" y="310"/>
                </a:lnTo>
                <a:lnTo>
                  <a:pt x="234" y="293"/>
                </a:lnTo>
                <a:lnTo>
                  <a:pt x="220" y="299"/>
                </a:lnTo>
                <a:lnTo>
                  <a:pt x="205" y="280"/>
                </a:lnTo>
                <a:lnTo>
                  <a:pt x="161" y="301"/>
                </a:lnTo>
                <a:lnTo>
                  <a:pt x="124" y="282"/>
                </a:lnTo>
                <a:lnTo>
                  <a:pt x="86" y="293"/>
                </a:lnTo>
                <a:lnTo>
                  <a:pt x="48" y="293"/>
                </a:lnTo>
                <a:lnTo>
                  <a:pt x="26" y="312"/>
                </a:lnTo>
                <a:close/>
              </a:path>
            </a:pathLst>
          </a:custGeom>
          <a:solidFill>
            <a:schemeClr val="accent3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9" name="Freeform 9"/>
          <p:cNvSpPr>
            <a:spLocks noChangeAspect="1"/>
          </p:cNvSpPr>
          <p:nvPr/>
        </p:nvSpPr>
        <p:spPr bwMode="gray">
          <a:xfrm>
            <a:off x="5283205" y="2749878"/>
            <a:ext cx="338139" cy="473075"/>
          </a:xfrm>
          <a:custGeom>
            <a:avLst/>
            <a:gdLst/>
            <a:ahLst/>
            <a:cxnLst>
              <a:cxn ang="0">
                <a:pos x="201" y="433"/>
              </a:cxn>
              <a:cxn ang="0">
                <a:pos x="251" y="406"/>
              </a:cxn>
              <a:cxn ang="0">
                <a:pos x="240" y="378"/>
              </a:cxn>
              <a:cxn ang="0">
                <a:pos x="240" y="335"/>
              </a:cxn>
              <a:cxn ang="0">
                <a:pos x="213" y="303"/>
              </a:cxn>
              <a:cxn ang="0">
                <a:pos x="213" y="289"/>
              </a:cxn>
              <a:cxn ang="0">
                <a:pos x="232" y="257"/>
              </a:cxn>
              <a:cxn ang="0">
                <a:pos x="242" y="190"/>
              </a:cxn>
              <a:cxn ang="0">
                <a:pos x="247" y="90"/>
              </a:cxn>
              <a:cxn ang="0">
                <a:pos x="261" y="61"/>
              </a:cxn>
              <a:cxn ang="0">
                <a:pos x="270" y="30"/>
              </a:cxn>
              <a:cxn ang="0">
                <a:pos x="261" y="13"/>
              </a:cxn>
              <a:cxn ang="0">
                <a:pos x="247" y="19"/>
              </a:cxn>
              <a:cxn ang="0">
                <a:pos x="232" y="0"/>
              </a:cxn>
              <a:cxn ang="0">
                <a:pos x="188" y="21"/>
              </a:cxn>
              <a:cxn ang="0">
                <a:pos x="151" y="2"/>
              </a:cxn>
              <a:cxn ang="0">
                <a:pos x="113" y="13"/>
              </a:cxn>
              <a:cxn ang="0">
                <a:pos x="75" y="13"/>
              </a:cxn>
              <a:cxn ang="0">
                <a:pos x="53" y="32"/>
              </a:cxn>
              <a:cxn ang="0">
                <a:pos x="57" y="42"/>
              </a:cxn>
              <a:cxn ang="0">
                <a:pos x="52" y="107"/>
              </a:cxn>
              <a:cxn ang="0">
                <a:pos x="25" y="142"/>
              </a:cxn>
              <a:cxn ang="0">
                <a:pos x="2" y="132"/>
              </a:cxn>
              <a:cxn ang="0">
                <a:pos x="0" y="142"/>
              </a:cxn>
              <a:cxn ang="0">
                <a:pos x="4" y="157"/>
              </a:cxn>
              <a:cxn ang="0">
                <a:pos x="15" y="167"/>
              </a:cxn>
              <a:cxn ang="0">
                <a:pos x="42" y="161"/>
              </a:cxn>
              <a:cxn ang="0">
                <a:pos x="57" y="167"/>
              </a:cxn>
              <a:cxn ang="0">
                <a:pos x="75" y="190"/>
              </a:cxn>
              <a:cxn ang="0">
                <a:pos x="75" y="217"/>
              </a:cxn>
              <a:cxn ang="0">
                <a:pos x="57" y="307"/>
              </a:cxn>
              <a:cxn ang="0">
                <a:pos x="44" y="345"/>
              </a:cxn>
              <a:cxn ang="0">
                <a:pos x="42" y="366"/>
              </a:cxn>
              <a:cxn ang="0">
                <a:pos x="65" y="364"/>
              </a:cxn>
              <a:cxn ang="0">
                <a:pos x="105" y="385"/>
              </a:cxn>
              <a:cxn ang="0">
                <a:pos x="144" y="395"/>
              </a:cxn>
              <a:cxn ang="0">
                <a:pos x="201" y="433"/>
              </a:cxn>
            </a:cxnLst>
            <a:rect l="0" t="0" r="r" b="b"/>
            <a:pathLst>
              <a:path w="270" h="433">
                <a:moveTo>
                  <a:pt x="201" y="433"/>
                </a:moveTo>
                <a:lnTo>
                  <a:pt x="251" y="406"/>
                </a:lnTo>
                <a:lnTo>
                  <a:pt x="240" y="378"/>
                </a:lnTo>
                <a:lnTo>
                  <a:pt x="240" y="335"/>
                </a:lnTo>
                <a:lnTo>
                  <a:pt x="213" y="303"/>
                </a:lnTo>
                <a:lnTo>
                  <a:pt x="213" y="289"/>
                </a:lnTo>
                <a:lnTo>
                  <a:pt x="232" y="257"/>
                </a:lnTo>
                <a:lnTo>
                  <a:pt x="242" y="190"/>
                </a:lnTo>
                <a:lnTo>
                  <a:pt x="247" y="90"/>
                </a:lnTo>
                <a:lnTo>
                  <a:pt x="261" y="61"/>
                </a:lnTo>
                <a:lnTo>
                  <a:pt x="270" y="30"/>
                </a:lnTo>
                <a:lnTo>
                  <a:pt x="261" y="13"/>
                </a:lnTo>
                <a:lnTo>
                  <a:pt x="247" y="19"/>
                </a:lnTo>
                <a:lnTo>
                  <a:pt x="232" y="0"/>
                </a:lnTo>
                <a:lnTo>
                  <a:pt x="188" y="21"/>
                </a:lnTo>
                <a:lnTo>
                  <a:pt x="151" y="2"/>
                </a:lnTo>
                <a:lnTo>
                  <a:pt x="113" y="13"/>
                </a:lnTo>
                <a:lnTo>
                  <a:pt x="75" y="13"/>
                </a:lnTo>
                <a:lnTo>
                  <a:pt x="53" y="32"/>
                </a:lnTo>
                <a:lnTo>
                  <a:pt x="57" y="42"/>
                </a:lnTo>
                <a:lnTo>
                  <a:pt x="52" y="107"/>
                </a:lnTo>
                <a:lnTo>
                  <a:pt x="25" y="142"/>
                </a:lnTo>
                <a:lnTo>
                  <a:pt x="2" y="132"/>
                </a:lnTo>
                <a:lnTo>
                  <a:pt x="0" y="142"/>
                </a:lnTo>
                <a:lnTo>
                  <a:pt x="4" y="157"/>
                </a:lnTo>
                <a:lnTo>
                  <a:pt x="15" y="167"/>
                </a:lnTo>
                <a:lnTo>
                  <a:pt x="42" y="161"/>
                </a:lnTo>
                <a:lnTo>
                  <a:pt x="57" y="167"/>
                </a:lnTo>
                <a:lnTo>
                  <a:pt x="75" y="190"/>
                </a:lnTo>
                <a:lnTo>
                  <a:pt x="75" y="217"/>
                </a:lnTo>
                <a:lnTo>
                  <a:pt x="57" y="307"/>
                </a:lnTo>
                <a:lnTo>
                  <a:pt x="44" y="345"/>
                </a:lnTo>
                <a:lnTo>
                  <a:pt x="42" y="366"/>
                </a:lnTo>
                <a:lnTo>
                  <a:pt x="65" y="364"/>
                </a:lnTo>
                <a:lnTo>
                  <a:pt x="105" y="385"/>
                </a:lnTo>
                <a:lnTo>
                  <a:pt x="144" y="395"/>
                </a:lnTo>
                <a:lnTo>
                  <a:pt x="201" y="43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0" name="Freeform 10"/>
          <p:cNvSpPr>
            <a:spLocks noChangeAspect="1"/>
          </p:cNvSpPr>
          <p:nvPr/>
        </p:nvSpPr>
        <p:spPr bwMode="gray">
          <a:xfrm>
            <a:off x="5472119" y="3194378"/>
            <a:ext cx="296863" cy="350839"/>
          </a:xfrm>
          <a:custGeom>
            <a:avLst/>
            <a:gdLst/>
            <a:ahLst/>
            <a:cxnLst>
              <a:cxn ang="0">
                <a:pos x="133" y="321"/>
              </a:cxn>
              <a:cxn ang="0">
                <a:pos x="129" y="311"/>
              </a:cxn>
              <a:cxn ang="0">
                <a:pos x="121" y="219"/>
              </a:cxn>
              <a:cxn ang="0">
                <a:pos x="154" y="154"/>
              </a:cxn>
              <a:cxn ang="0">
                <a:pos x="164" y="158"/>
              </a:cxn>
              <a:cxn ang="0">
                <a:pos x="206" y="141"/>
              </a:cxn>
              <a:cxn ang="0">
                <a:pos x="240" y="167"/>
              </a:cxn>
              <a:cxn ang="0">
                <a:pos x="240" y="148"/>
              </a:cxn>
              <a:cxn ang="0">
                <a:pos x="240" y="104"/>
              </a:cxn>
              <a:cxn ang="0">
                <a:pos x="231" y="75"/>
              </a:cxn>
              <a:cxn ang="0">
                <a:pos x="240" y="58"/>
              </a:cxn>
              <a:cxn ang="0">
                <a:pos x="237" y="41"/>
              </a:cxn>
              <a:cxn ang="0">
                <a:pos x="181" y="48"/>
              </a:cxn>
              <a:cxn ang="0">
                <a:pos x="162" y="20"/>
              </a:cxn>
              <a:cxn ang="0">
                <a:pos x="148" y="22"/>
              </a:cxn>
              <a:cxn ang="0">
                <a:pos x="102" y="0"/>
              </a:cxn>
              <a:cxn ang="0">
                <a:pos x="52" y="27"/>
              </a:cxn>
              <a:cxn ang="0">
                <a:pos x="62" y="64"/>
              </a:cxn>
              <a:cxn ang="0">
                <a:pos x="48" y="98"/>
              </a:cxn>
              <a:cxn ang="0">
                <a:pos x="60" y="146"/>
              </a:cxn>
              <a:cxn ang="0">
                <a:pos x="41" y="187"/>
              </a:cxn>
              <a:cxn ang="0">
                <a:pos x="29" y="229"/>
              </a:cxn>
              <a:cxn ang="0">
                <a:pos x="0" y="260"/>
              </a:cxn>
              <a:cxn ang="0">
                <a:pos x="2" y="281"/>
              </a:cxn>
              <a:cxn ang="0">
                <a:pos x="2" y="283"/>
              </a:cxn>
              <a:cxn ang="0">
                <a:pos x="41" y="283"/>
              </a:cxn>
              <a:cxn ang="0">
                <a:pos x="52" y="294"/>
              </a:cxn>
              <a:cxn ang="0">
                <a:pos x="83" y="294"/>
              </a:cxn>
              <a:cxn ang="0">
                <a:pos x="95" y="321"/>
              </a:cxn>
              <a:cxn ang="0">
                <a:pos x="133" y="321"/>
              </a:cxn>
            </a:cxnLst>
            <a:rect l="0" t="0" r="r" b="b"/>
            <a:pathLst>
              <a:path w="240" h="321">
                <a:moveTo>
                  <a:pt x="133" y="321"/>
                </a:moveTo>
                <a:lnTo>
                  <a:pt x="129" y="311"/>
                </a:lnTo>
                <a:lnTo>
                  <a:pt x="121" y="219"/>
                </a:lnTo>
                <a:lnTo>
                  <a:pt x="154" y="154"/>
                </a:lnTo>
                <a:lnTo>
                  <a:pt x="164" y="158"/>
                </a:lnTo>
                <a:lnTo>
                  <a:pt x="206" y="141"/>
                </a:lnTo>
                <a:lnTo>
                  <a:pt x="240" y="167"/>
                </a:lnTo>
                <a:lnTo>
                  <a:pt x="240" y="148"/>
                </a:lnTo>
                <a:lnTo>
                  <a:pt x="240" y="104"/>
                </a:lnTo>
                <a:lnTo>
                  <a:pt x="231" y="75"/>
                </a:lnTo>
                <a:lnTo>
                  <a:pt x="240" y="58"/>
                </a:lnTo>
                <a:lnTo>
                  <a:pt x="237" y="41"/>
                </a:lnTo>
                <a:lnTo>
                  <a:pt x="181" y="48"/>
                </a:lnTo>
                <a:lnTo>
                  <a:pt x="162" y="20"/>
                </a:lnTo>
                <a:lnTo>
                  <a:pt x="148" y="22"/>
                </a:lnTo>
                <a:lnTo>
                  <a:pt x="102" y="0"/>
                </a:lnTo>
                <a:lnTo>
                  <a:pt x="52" y="27"/>
                </a:lnTo>
                <a:lnTo>
                  <a:pt x="62" y="64"/>
                </a:lnTo>
                <a:lnTo>
                  <a:pt x="48" y="98"/>
                </a:lnTo>
                <a:lnTo>
                  <a:pt x="60" y="146"/>
                </a:lnTo>
                <a:lnTo>
                  <a:pt x="41" y="187"/>
                </a:lnTo>
                <a:lnTo>
                  <a:pt x="29" y="229"/>
                </a:lnTo>
                <a:lnTo>
                  <a:pt x="0" y="260"/>
                </a:lnTo>
                <a:lnTo>
                  <a:pt x="2" y="281"/>
                </a:lnTo>
                <a:lnTo>
                  <a:pt x="2" y="283"/>
                </a:lnTo>
                <a:lnTo>
                  <a:pt x="41" y="283"/>
                </a:lnTo>
                <a:lnTo>
                  <a:pt x="52" y="294"/>
                </a:lnTo>
                <a:lnTo>
                  <a:pt x="83" y="294"/>
                </a:lnTo>
                <a:lnTo>
                  <a:pt x="95" y="321"/>
                </a:lnTo>
                <a:lnTo>
                  <a:pt x="133" y="321"/>
                </a:lnTo>
                <a:close/>
              </a:path>
            </a:pathLst>
          </a:custGeom>
          <a:solidFill>
            <a:schemeClr val="accent3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12" name="Freeform 11"/>
          <p:cNvSpPr>
            <a:spLocks noChangeAspect="1"/>
          </p:cNvSpPr>
          <p:nvPr/>
        </p:nvSpPr>
        <p:spPr bwMode="gray">
          <a:xfrm>
            <a:off x="5251451" y="3149930"/>
            <a:ext cx="293688" cy="417513"/>
          </a:xfrm>
          <a:custGeom>
            <a:avLst/>
            <a:gdLst>
              <a:gd name="T0" fmla="*/ 0 w 236"/>
              <a:gd name="T1" fmla="*/ 2147483647 h 382"/>
              <a:gd name="T2" fmla="*/ 2147483647 w 236"/>
              <a:gd name="T3" fmla="*/ 2147483647 h 382"/>
              <a:gd name="T4" fmla="*/ 2147483647 w 236"/>
              <a:gd name="T5" fmla="*/ 2147483647 h 382"/>
              <a:gd name="T6" fmla="*/ 2147483647 w 236"/>
              <a:gd name="T7" fmla="*/ 0 h 382"/>
              <a:gd name="T8" fmla="*/ 2147483647 w 236"/>
              <a:gd name="T9" fmla="*/ 2147483647 h 382"/>
              <a:gd name="T10" fmla="*/ 2147483647 w 236"/>
              <a:gd name="T11" fmla="*/ 2147483647 h 382"/>
              <a:gd name="T12" fmla="*/ 2147483647 w 236"/>
              <a:gd name="T13" fmla="*/ 2147483647 h 382"/>
              <a:gd name="T14" fmla="*/ 2147483647 w 236"/>
              <a:gd name="T15" fmla="*/ 2147483647 h 382"/>
              <a:gd name="T16" fmla="*/ 2147483647 w 236"/>
              <a:gd name="T17" fmla="*/ 2147483647 h 382"/>
              <a:gd name="T18" fmla="*/ 2147483647 w 236"/>
              <a:gd name="T19" fmla="*/ 2147483647 h 382"/>
              <a:gd name="T20" fmla="*/ 2147483647 w 236"/>
              <a:gd name="T21" fmla="*/ 2147483647 h 382"/>
              <a:gd name="T22" fmla="*/ 2147483647 w 236"/>
              <a:gd name="T23" fmla="*/ 2147483647 h 382"/>
              <a:gd name="T24" fmla="*/ 2147483647 w 236"/>
              <a:gd name="T25" fmla="*/ 2147483647 h 382"/>
              <a:gd name="T26" fmla="*/ 2147483647 w 236"/>
              <a:gd name="T27" fmla="*/ 2147483647 h 382"/>
              <a:gd name="T28" fmla="*/ 2147483647 w 236"/>
              <a:gd name="T29" fmla="*/ 2147483647 h 382"/>
              <a:gd name="T30" fmla="*/ 2147483647 w 236"/>
              <a:gd name="T31" fmla="*/ 2147483647 h 382"/>
              <a:gd name="T32" fmla="*/ 2147483647 w 236"/>
              <a:gd name="T33" fmla="*/ 2147483647 h 382"/>
              <a:gd name="T34" fmla="*/ 2147483647 w 236"/>
              <a:gd name="T35" fmla="*/ 2147483647 h 382"/>
              <a:gd name="T36" fmla="*/ 2147483647 w 236"/>
              <a:gd name="T37" fmla="*/ 2147483647 h 382"/>
              <a:gd name="T38" fmla="*/ 2147483647 w 236"/>
              <a:gd name="T39" fmla="*/ 2147483647 h 382"/>
              <a:gd name="T40" fmla="*/ 2147483647 w 236"/>
              <a:gd name="T41" fmla="*/ 2147483647 h 382"/>
              <a:gd name="T42" fmla="*/ 2147483647 w 236"/>
              <a:gd name="T43" fmla="*/ 2147483647 h 382"/>
              <a:gd name="T44" fmla="*/ 2147483647 w 236"/>
              <a:gd name="T45" fmla="*/ 2147483647 h 382"/>
              <a:gd name="T46" fmla="*/ 2147483647 w 236"/>
              <a:gd name="T47" fmla="*/ 2147483647 h 382"/>
              <a:gd name="T48" fmla="*/ 2147483647 w 236"/>
              <a:gd name="T49" fmla="*/ 2147483647 h 382"/>
              <a:gd name="T50" fmla="*/ 0 w 236"/>
              <a:gd name="T51" fmla="*/ 2147483647 h 38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236" h="382">
                <a:moveTo>
                  <a:pt x="0" y="161"/>
                </a:moveTo>
                <a:lnTo>
                  <a:pt x="55" y="64"/>
                </a:lnTo>
                <a:lnTo>
                  <a:pt x="67" y="2"/>
                </a:lnTo>
                <a:lnTo>
                  <a:pt x="90" y="0"/>
                </a:lnTo>
                <a:lnTo>
                  <a:pt x="130" y="21"/>
                </a:lnTo>
                <a:lnTo>
                  <a:pt x="169" y="31"/>
                </a:lnTo>
                <a:lnTo>
                  <a:pt x="226" y="69"/>
                </a:lnTo>
                <a:lnTo>
                  <a:pt x="236" y="106"/>
                </a:lnTo>
                <a:lnTo>
                  <a:pt x="222" y="140"/>
                </a:lnTo>
                <a:lnTo>
                  <a:pt x="234" y="188"/>
                </a:lnTo>
                <a:lnTo>
                  <a:pt x="215" y="229"/>
                </a:lnTo>
                <a:lnTo>
                  <a:pt x="203" y="271"/>
                </a:lnTo>
                <a:lnTo>
                  <a:pt x="174" y="302"/>
                </a:lnTo>
                <a:lnTo>
                  <a:pt x="176" y="323"/>
                </a:lnTo>
                <a:lnTo>
                  <a:pt x="176" y="325"/>
                </a:lnTo>
                <a:lnTo>
                  <a:pt x="163" y="373"/>
                </a:lnTo>
                <a:lnTo>
                  <a:pt x="142" y="382"/>
                </a:lnTo>
                <a:lnTo>
                  <a:pt x="71" y="357"/>
                </a:lnTo>
                <a:lnTo>
                  <a:pt x="55" y="359"/>
                </a:lnTo>
                <a:lnTo>
                  <a:pt x="38" y="338"/>
                </a:lnTo>
                <a:lnTo>
                  <a:pt x="50" y="261"/>
                </a:lnTo>
                <a:lnTo>
                  <a:pt x="78" y="248"/>
                </a:lnTo>
                <a:lnTo>
                  <a:pt x="88" y="231"/>
                </a:lnTo>
                <a:lnTo>
                  <a:pt x="65" y="208"/>
                </a:lnTo>
                <a:lnTo>
                  <a:pt x="36" y="169"/>
                </a:lnTo>
                <a:lnTo>
                  <a:pt x="0" y="161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13" name="Freeform 12"/>
          <p:cNvSpPr>
            <a:spLocks noChangeAspect="1"/>
          </p:cNvSpPr>
          <p:nvPr/>
        </p:nvSpPr>
        <p:spPr bwMode="gray">
          <a:xfrm>
            <a:off x="4772030" y="3326135"/>
            <a:ext cx="592139" cy="533400"/>
          </a:xfrm>
          <a:custGeom>
            <a:avLst/>
            <a:gdLst>
              <a:gd name="T0" fmla="*/ 2147483647 w 476"/>
              <a:gd name="T1" fmla="*/ 2147483647 h 490"/>
              <a:gd name="T2" fmla="*/ 2147483647 w 476"/>
              <a:gd name="T3" fmla="*/ 2147483647 h 490"/>
              <a:gd name="T4" fmla="*/ 2147483647 w 476"/>
              <a:gd name="T5" fmla="*/ 2147483647 h 490"/>
              <a:gd name="T6" fmla="*/ 2147483647 w 476"/>
              <a:gd name="T7" fmla="*/ 2147483647 h 490"/>
              <a:gd name="T8" fmla="*/ 2147483647 w 476"/>
              <a:gd name="T9" fmla="*/ 2147483647 h 490"/>
              <a:gd name="T10" fmla="*/ 2147483647 w 476"/>
              <a:gd name="T11" fmla="*/ 2147483647 h 490"/>
              <a:gd name="T12" fmla="*/ 2147483647 w 476"/>
              <a:gd name="T13" fmla="*/ 2147483647 h 490"/>
              <a:gd name="T14" fmla="*/ 2147483647 w 476"/>
              <a:gd name="T15" fmla="*/ 2147483647 h 490"/>
              <a:gd name="T16" fmla="*/ 2147483647 w 476"/>
              <a:gd name="T17" fmla="*/ 2147483647 h 490"/>
              <a:gd name="T18" fmla="*/ 2147483647 w 476"/>
              <a:gd name="T19" fmla="*/ 2147483647 h 490"/>
              <a:gd name="T20" fmla="*/ 2147483647 w 476"/>
              <a:gd name="T21" fmla="*/ 2147483647 h 490"/>
              <a:gd name="T22" fmla="*/ 2147483647 w 476"/>
              <a:gd name="T23" fmla="*/ 2147483647 h 490"/>
              <a:gd name="T24" fmla="*/ 2147483647 w 476"/>
              <a:gd name="T25" fmla="*/ 2147483647 h 490"/>
              <a:gd name="T26" fmla="*/ 2147483647 w 476"/>
              <a:gd name="T27" fmla="*/ 2147483647 h 490"/>
              <a:gd name="T28" fmla="*/ 2147483647 w 476"/>
              <a:gd name="T29" fmla="*/ 2147483647 h 490"/>
              <a:gd name="T30" fmla="*/ 2147483647 w 476"/>
              <a:gd name="T31" fmla="*/ 2147483647 h 490"/>
              <a:gd name="T32" fmla="*/ 2147483647 w 476"/>
              <a:gd name="T33" fmla="*/ 2147483647 h 490"/>
              <a:gd name="T34" fmla="*/ 2147483647 w 476"/>
              <a:gd name="T35" fmla="*/ 2147483647 h 490"/>
              <a:gd name="T36" fmla="*/ 2147483647 w 476"/>
              <a:gd name="T37" fmla="*/ 0 h 490"/>
              <a:gd name="T38" fmla="*/ 2147483647 w 476"/>
              <a:gd name="T39" fmla="*/ 2147483647 h 490"/>
              <a:gd name="T40" fmla="*/ 2147483647 w 476"/>
              <a:gd name="T41" fmla="*/ 2147483647 h 490"/>
              <a:gd name="T42" fmla="*/ 2147483647 w 476"/>
              <a:gd name="T43" fmla="*/ 2147483647 h 490"/>
              <a:gd name="T44" fmla="*/ 2147483647 w 476"/>
              <a:gd name="T45" fmla="*/ 2147483647 h 490"/>
              <a:gd name="T46" fmla="*/ 2147483647 w 476"/>
              <a:gd name="T47" fmla="*/ 2147483647 h 490"/>
              <a:gd name="T48" fmla="*/ 2147483647 w 476"/>
              <a:gd name="T49" fmla="*/ 2147483647 h 490"/>
              <a:gd name="T50" fmla="*/ 0 w 476"/>
              <a:gd name="T51" fmla="*/ 2147483647 h 490"/>
              <a:gd name="T52" fmla="*/ 2147483647 w 476"/>
              <a:gd name="T53" fmla="*/ 2147483647 h 490"/>
              <a:gd name="T54" fmla="*/ 2147483647 w 476"/>
              <a:gd name="T55" fmla="*/ 2147483647 h 490"/>
              <a:gd name="T56" fmla="*/ 2147483647 w 476"/>
              <a:gd name="T57" fmla="*/ 2147483647 h 490"/>
              <a:gd name="T58" fmla="*/ 2147483647 w 476"/>
              <a:gd name="T59" fmla="*/ 2147483647 h 490"/>
              <a:gd name="T60" fmla="*/ 2147483647 w 476"/>
              <a:gd name="T61" fmla="*/ 2147483647 h 490"/>
              <a:gd name="T62" fmla="*/ 2147483647 w 476"/>
              <a:gd name="T63" fmla="*/ 2147483647 h 490"/>
              <a:gd name="T64" fmla="*/ 2147483647 w 476"/>
              <a:gd name="T65" fmla="*/ 2147483647 h 490"/>
              <a:gd name="T66" fmla="*/ 2147483647 w 476"/>
              <a:gd name="T67" fmla="*/ 2147483647 h 490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476" h="490">
                <a:moveTo>
                  <a:pt x="236" y="490"/>
                </a:moveTo>
                <a:lnTo>
                  <a:pt x="276" y="474"/>
                </a:lnTo>
                <a:lnTo>
                  <a:pt x="299" y="442"/>
                </a:lnTo>
                <a:lnTo>
                  <a:pt x="317" y="421"/>
                </a:lnTo>
                <a:lnTo>
                  <a:pt x="340" y="403"/>
                </a:lnTo>
                <a:lnTo>
                  <a:pt x="347" y="384"/>
                </a:lnTo>
                <a:lnTo>
                  <a:pt x="328" y="361"/>
                </a:lnTo>
                <a:lnTo>
                  <a:pt x="336" y="344"/>
                </a:lnTo>
                <a:lnTo>
                  <a:pt x="340" y="307"/>
                </a:lnTo>
                <a:lnTo>
                  <a:pt x="413" y="277"/>
                </a:lnTo>
                <a:lnTo>
                  <a:pt x="407" y="263"/>
                </a:lnTo>
                <a:lnTo>
                  <a:pt x="443" y="198"/>
                </a:lnTo>
                <a:lnTo>
                  <a:pt x="426" y="177"/>
                </a:lnTo>
                <a:lnTo>
                  <a:pt x="438" y="100"/>
                </a:lnTo>
                <a:lnTo>
                  <a:pt x="466" y="87"/>
                </a:lnTo>
                <a:lnTo>
                  <a:pt x="476" y="70"/>
                </a:lnTo>
                <a:lnTo>
                  <a:pt x="453" y="47"/>
                </a:lnTo>
                <a:lnTo>
                  <a:pt x="424" y="8"/>
                </a:lnTo>
                <a:lnTo>
                  <a:pt x="388" y="0"/>
                </a:lnTo>
                <a:lnTo>
                  <a:pt x="359" y="121"/>
                </a:lnTo>
                <a:lnTo>
                  <a:pt x="288" y="171"/>
                </a:lnTo>
                <a:lnTo>
                  <a:pt x="240" y="215"/>
                </a:lnTo>
                <a:lnTo>
                  <a:pt x="236" y="246"/>
                </a:lnTo>
                <a:lnTo>
                  <a:pt x="173" y="330"/>
                </a:lnTo>
                <a:lnTo>
                  <a:pt x="33" y="413"/>
                </a:lnTo>
                <a:lnTo>
                  <a:pt x="0" y="423"/>
                </a:lnTo>
                <a:lnTo>
                  <a:pt x="27" y="484"/>
                </a:lnTo>
                <a:lnTo>
                  <a:pt x="50" y="469"/>
                </a:lnTo>
                <a:lnTo>
                  <a:pt x="71" y="446"/>
                </a:lnTo>
                <a:lnTo>
                  <a:pt x="96" y="471"/>
                </a:lnTo>
                <a:lnTo>
                  <a:pt x="140" y="461"/>
                </a:lnTo>
                <a:lnTo>
                  <a:pt x="180" y="421"/>
                </a:lnTo>
                <a:lnTo>
                  <a:pt x="200" y="421"/>
                </a:lnTo>
                <a:lnTo>
                  <a:pt x="236" y="490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3" name="Freeform 13"/>
          <p:cNvSpPr>
            <a:spLocks noChangeAspect="1"/>
          </p:cNvSpPr>
          <p:nvPr/>
        </p:nvSpPr>
        <p:spPr bwMode="gray">
          <a:xfrm>
            <a:off x="5164142" y="3500760"/>
            <a:ext cx="487363" cy="330200"/>
          </a:xfrm>
          <a:custGeom>
            <a:avLst/>
            <a:gdLst/>
            <a:ahLst/>
            <a:cxnLst>
              <a:cxn ang="0">
                <a:pos x="253" y="278"/>
              </a:cxn>
              <a:cxn ang="0">
                <a:pos x="238" y="247"/>
              </a:cxn>
              <a:cxn ang="0">
                <a:pos x="180" y="218"/>
              </a:cxn>
              <a:cxn ang="0">
                <a:pos x="54" y="284"/>
              </a:cxn>
              <a:cxn ang="0">
                <a:pos x="0" y="259"/>
              </a:cxn>
              <a:cxn ang="0">
                <a:pos x="23" y="241"/>
              </a:cxn>
              <a:cxn ang="0">
                <a:pos x="30" y="222"/>
              </a:cxn>
              <a:cxn ang="0">
                <a:pos x="11" y="199"/>
              </a:cxn>
              <a:cxn ang="0">
                <a:pos x="19" y="182"/>
              </a:cxn>
              <a:cxn ang="0">
                <a:pos x="23" y="145"/>
              </a:cxn>
              <a:cxn ang="0">
                <a:pos x="96" y="115"/>
              </a:cxn>
              <a:cxn ang="0">
                <a:pos x="90" y="101"/>
              </a:cxn>
              <a:cxn ang="0">
                <a:pos x="126" y="36"/>
              </a:cxn>
              <a:cxn ang="0">
                <a:pos x="142" y="34"/>
              </a:cxn>
              <a:cxn ang="0">
                <a:pos x="213" y="59"/>
              </a:cxn>
              <a:cxn ang="0">
                <a:pos x="234" y="50"/>
              </a:cxn>
              <a:cxn ang="0">
                <a:pos x="247" y="2"/>
              </a:cxn>
              <a:cxn ang="0">
                <a:pos x="247" y="0"/>
              </a:cxn>
              <a:cxn ang="0">
                <a:pos x="247" y="2"/>
              </a:cxn>
              <a:cxn ang="0">
                <a:pos x="286" y="2"/>
              </a:cxn>
              <a:cxn ang="0">
                <a:pos x="297" y="13"/>
              </a:cxn>
              <a:cxn ang="0">
                <a:pos x="328" y="13"/>
              </a:cxn>
              <a:cxn ang="0">
                <a:pos x="340" y="40"/>
              </a:cxn>
              <a:cxn ang="0">
                <a:pos x="378" y="40"/>
              </a:cxn>
              <a:cxn ang="0">
                <a:pos x="389" y="73"/>
              </a:cxn>
              <a:cxn ang="0">
                <a:pos x="386" y="247"/>
              </a:cxn>
              <a:cxn ang="0">
                <a:pos x="343" y="282"/>
              </a:cxn>
              <a:cxn ang="0">
                <a:pos x="326" y="278"/>
              </a:cxn>
              <a:cxn ang="0">
                <a:pos x="307" y="301"/>
              </a:cxn>
              <a:cxn ang="0">
                <a:pos x="293" y="301"/>
              </a:cxn>
              <a:cxn ang="0">
                <a:pos x="253" y="278"/>
              </a:cxn>
            </a:cxnLst>
            <a:rect l="0" t="0" r="r" b="b"/>
            <a:pathLst>
              <a:path w="389" h="301">
                <a:moveTo>
                  <a:pt x="253" y="278"/>
                </a:moveTo>
                <a:lnTo>
                  <a:pt x="238" y="247"/>
                </a:lnTo>
                <a:lnTo>
                  <a:pt x="180" y="218"/>
                </a:lnTo>
                <a:lnTo>
                  <a:pt x="54" y="284"/>
                </a:lnTo>
                <a:lnTo>
                  <a:pt x="0" y="259"/>
                </a:lnTo>
                <a:lnTo>
                  <a:pt x="23" y="241"/>
                </a:lnTo>
                <a:lnTo>
                  <a:pt x="30" y="222"/>
                </a:lnTo>
                <a:lnTo>
                  <a:pt x="11" y="199"/>
                </a:lnTo>
                <a:lnTo>
                  <a:pt x="19" y="182"/>
                </a:lnTo>
                <a:lnTo>
                  <a:pt x="23" y="145"/>
                </a:lnTo>
                <a:lnTo>
                  <a:pt x="96" y="115"/>
                </a:lnTo>
                <a:lnTo>
                  <a:pt x="90" y="101"/>
                </a:lnTo>
                <a:lnTo>
                  <a:pt x="126" y="36"/>
                </a:lnTo>
                <a:lnTo>
                  <a:pt x="142" y="34"/>
                </a:lnTo>
                <a:lnTo>
                  <a:pt x="213" y="59"/>
                </a:lnTo>
                <a:lnTo>
                  <a:pt x="234" y="50"/>
                </a:lnTo>
                <a:lnTo>
                  <a:pt x="247" y="2"/>
                </a:lnTo>
                <a:lnTo>
                  <a:pt x="247" y="0"/>
                </a:lnTo>
                <a:lnTo>
                  <a:pt x="247" y="2"/>
                </a:lnTo>
                <a:lnTo>
                  <a:pt x="286" y="2"/>
                </a:lnTo>
                <a:lnTo>
                  <a:pt x="297" y="13"/>
                </a:lnTo>
                <a:lnTo>
                  <a:pt x="328" y="13"/>
                </a:lnTo>
                <a:lnTo>
                  <a:pt x="340" y="40"/>
                </a:lnTo>
                <a:lnTo>
                  <a:pt x="378" y="40"/>
                </a:lnTo>
                <a:lnTo>
                  <a:pt x="389" y="73"/>
                </a:lnTo>
                <a:lnTo>
                  <a:pt x="386" y="247"/>
                </a:lnTo>
                <a:lnTo>
                  <a:pt x="343" y="282"/>
                </a:lnTo>
                <a:lnTo>
                  <a:pt x="326" y="278"/>
                </a:lnTo>
                <a:lnTo>
                  <a:pt x="307" y="301"/>
                </a:lnTo>
                <a:lnTo>
                  <a:pt x="293" y="301"/>
                </a:lnTo>
                <a:lnTo>
                  <a:pt x="253" y="278"/>
                </a:lnTo>
                <a:close/>
              </a:path>
            </a:pathLst>
          </a:custGeom>
          <a:solidFill>
            <a:schemeClr val="accent3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4" name="Freeform 14"/>
          <p:cNvSpPr>
            <a:spLocks noChangeAspect="1"/>
          </p:cNvSpPr>
          <p:nvPr/>
        </p:nvSpPr>
        <p:spPr bwMode="gray">
          <a:xfrm>
            <a:off x="5334006" y="3805567"/>
            <a:ext cx="260351" cy="312737"/>
          </a:xfrm>
          <a:custGeom>
            <a:avLst/>
            <a:gdLst/>
            <a:ahLst/>
            <a:cxnLst>
              <a:cxn ang="0">
                <a:pos x="37" y="242"/>
              </a:cxn>
              <a:cxn ang="0">
                <a:pos x="0" y="198"/>
              </a:cxn>
              <a:cxn ang="0">
                <a:pos x="35" y="155"/>
              </a:cxn>
              <a:cxn ang="0">
                <a:pos x="98" y="130"/>
              </a:cxn>
              <a:cxn ang="0">
                <a:pos x="113" y="107"/>
              </a:cxn>
              <a:cxn ang="0">
                <a:pos x="111" y="44"/>
              </a:cxn>
              <a:cxn ang="0">
                <a:pos x="117" y="0"/>
              </a:cxn>
              <a:cxn ang="0">
                <a:pos x="157" y="23"/>
              </a:cxn>
              <a:cxn ang="0">
                <a:pos x="171" y="23"/>
              </a:cxn>
              <a:cxn ang="0">
                <a:pos x="190" y="0"/>
              </a:cxn>
              <a:cxn ang="0">
                <a:pos x="207" y="4"/>
              </a:cxn>
              <a:cxn ang="0">
                <a:pos x="177" y="128"/>
              </a:cxn>
              <a:cxn ang="0">
                <a:pos x="188" y="236"/>
              </a:cxn>
              <a:cxn ang="0">
                <a:pos x="204" y="263"/>
              </a:cxn>
              <a:cxn ang="0">
                <a:pos x="138" y="284"/>
              </a:cxn>
              <a:cxn ang="0">
                <a:pos x="96" y="286"/>
              </a:cxn>
              <a:cxn ang="0">
                <a:pos x="52" y="261"/>
              </a:cxn>
              <a:cxn ang="0">
                <a:pos x="37" y="242"/>
              </a:cxn>
            </a:cxnLst>
            <a:rect l="0" t="0" r="r" b="b"/>
            <a:pathLst>
              <a:path w="207" h="286">
                <a:moveTo>
                  <a:pt x="37" y="242"/>
                </a:moveTo>
                <a:lnTo>
                  <a:pt x="0" y="198"/>
                </a:lnTo>
                <a:lnTo>
                  <a:pt x="35" y="155"/>
                </a:lnTo>
                <a:lnTo>
                  <a:pt x="98" y="130"/>
                </a:lnTo>
                <a:lnTo>
                  <a:pt x="113" y="107"/>
                </a:lnTo>
                <a:lnTo>
                  <a:pt x="111" y="44"/>
                </a:lnTo>
                <a:lnTo>
                  <a:pt x="117" y="0"/>
                </a:lnTo>
                <a:lnTo>
                  <a:pt x="157" y="23"/>
                </a:lnTo>
                <a:lnTo>
                  <a:pt x="171" y="23"/>
                </a:lnTo>
                <a:lnTo>
                  <a:pt x="190" y="0"/>
                </a:lnTo>
                <a:lnTo>
                  <a:pt x="207" y="4"/>
                </a:lnTo>
                <a:lnTo>
                  <a:pt x="177" y="128"/>
                </a:lnTo>
                <a:lnTo>
                  <a:pt x="188" y="236"/>
                </a:lnTo>
                <a:lnTo>
                  <a:pt x="204" y="263"/>
                </a:lnTo>
                <a:lnTo>
                  <a:pt x="138" y="284"/>
                </a:lnTo>
                <a:lnTo>
                  <a:pt x="96" y="286"/>
                </a:lnTo>
                <a:lnTo>
                  <a:pt x="52" y="261"/>
                </a:lnTo>
                <a:lnTo>
                  <a:pt x="37" y="242"/>
                </a:lnTo>
                <a:close/>
              </a:path>
            </a:pathLst>
          </a:custGeom>
          <a:solidFill>
            <a:schemeClr val="accent3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5" name="Freeform 15"/>
          <p:cNvSpPr>
            <a:spLocks noChangeAspect="1"/>
          </p:cNvSpPr>
          <p:nvPr/>
        </p:nvSpPr>
        <p:spPr bwMode="gray">
          <a:xfrm>
            <a:off x="5233994" y="3740479"/>
            <a:ext cx="246063" cy="282575"/>
          </a:xfrm>
          <a:custGeom>
            <a:avLst/>
            <a:gdLst/>
            <a:ahLst/>
            <a:cxnLst>
              <a:cxn ang="0">
                <a:pos x="82" y="258"/>
              </a:cxn>
              <a:cxn ang="0">
                <a:pos x="117" y="215"/>
              </a:cxn>
              <a:cxn ang="0">
                <a:pos x="180" y="190"/>
              </a:cxn>
              <a:cxn ang="0">
                <a:pos x="195" y="167"/>
              </a:cxn>
              <a:cxn ang="0">
                <a:pos x="193" y="104"/>
              </a:cxn>
              <a:cxn ang="0">
                <a:pos x="199" y="60"/>
              </a:cxn>
              <a:cxn ang="0">
                <a:pos x="184" y="29"/>
              </a:cxn>
              <a:cxn ang="0">
                <a:pos x="126" y="0"/>
              </a:cxn>
              <a:cxn ang="0">
                <a:pos x="0" y="66"/>
              </a:cxn>
              <a:cxn ang="0">
                <a:pos x="0" y="135"/>
              </a:cxn>
              <a:cxn ang="0">
                <a:pos x="24" y="154"/>
              </a:cxn>
              <a:cxn ang="0">
                <a:pos x="7" y="200"/>
              </a:cxn>
              <a:cxn ang="0">
                <a:pos x="28" y="229"/>
              </a:cxn>
              <a:cxn ang="0">
                <a:pos x="63" y="236"/>
              </a:cxn>
              <a:cxn ang="0">
                <a:pos x="82" y="258"/>
              </a:cxn>
            </a:cxnLst>
            <a:rect l="0" t="0" r="r" b="b"/>
            <a:pathLst>
              <a:path w="199" h="258">
                <a:moveTo>
                  <a:pt x="82" y="258"/>
                </a:moveTo>
                <a:lnTo>
                  <a:pt x="117" y="215"/>
                </a:lnTo>
                <a:lnTo>
                  <a:pt x="180" y="190"/>
                </a:lnTo>
                <a:lnTo>
                  <a:pt x="195" y="167"/>
                </a:lnTo>
                <a:lnTo>
                  <a:pt x="193" y="104"/>
                </a:lnTo>
                <a:lnTo>
                  <a:pt x="199" y="60"/>
                </a:lnTo>
                <a:lnTo>
                  <a:pt x="184" y="29"/>
                </a:lnTo>
                <a:lnTo>
                  <a:pt x="126" y="0"/>
                </a:lnTo>
                <a:lnTo>
                  <a:pt x="0" y="66"/>
                </a:lnTo>
                <a:lnTo>
                  <a:pt x="0" y="135"/>
                </a:lnTo>
                <a:lnTo>
                  <a:pt x="24" y="154"/>
                </a:lnTo>
                <a:lnTo>
                  <a:pt x="7" y="200"/>
                </a:lnTo>
                <a:lnTo>
                  <a:pt x="28" y="229"/>
                </a:lnTo>
                <a:lnTo>
                  <a:pt x="63" y="236"/>
                </a:lnTo>
                <a:lnTo>
                  <a:pt x="82" y="258"/>
                </a:lnTo>
                <a:close/>
              </a:path>
            </a:pathLst>
          </a:custGeom>
          <a:solidFill>
            <a:schemeClr val="accent3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17" name="Freeform 16"/>
          <p:cNvSpPr>
            <a:spLocks noChangeAspect="1"/>
          </p:cNvSpPr>
          <p:nvPr/>
        </p:nvSpPr>
        <p:spPr bwMode="gray">
          <a:xfrm>
            <a:off x="4987932" y="3783342"/>
            <a:ext cx="346075" cy="301625"/>
          </a:xfrm>
          <a:custGeom>
            <a:avLst/>
            <a:gdLst>
              <a:gd name="T0" fmla="*/ 2147483647 w 280"/>
              <a:gd name="T1" fmla="*/ 2147483647 h 274"/>
              <a:gd name="T2" fmla="*/ 2147483647 w 280"/>
              <a:gd name="T3" fmla="*/ 2147483647 h 274"/>
              <a:gd name="T4" fmla="*/ 2147483647 w 280"/>
              <a:gd name="T5" fmla="*/ 2147483647 h 274"/>
              <a:gd name="T6" fmla="*/ 2147483647 w 280"/>
              <a:gd name="T7" fmla="*/ 2147483647 h 274"/>
              <a:gd name="T8" fmla="*/ 2147483647 w 280"/>
              <a:gd name="T9" fmla="*/ 2147483647 h 274"/>
              <a:gd name="T10" fmla="*/ 2147483647 w 280"/>
              <a:gd name="T11" fmla="*/ 2147483647 h 274"/>
              <a:gd name="T12" fmla="*/ 2147483647 w 280"/>
              <a:gd name="T13" fmla="*/ 2147483647 h 274"/>
              <a:gd name="T14" fmla="*/ 2147483647 w 280"/>
              <a:gd name="T15" fmla="*/ 0 h 274"/>
              <a:gd name="T16" fmla="*/ 2147483647 w 280"/>
              <a:gd name="T17" fmla="*/ 2147483647 h 274"/>
              <a:gd name="T18" fmla="*/ 2147483647 w 280"/>
              <a:gd name="T19" fmla="*/ 2147483647 h 274"/>
              <a:gd name="T20" fmla="*/ 2147483647 w 280"/>
              <a:gd name="T21" fmla="*/ 2147483647 h 274"/>
              <a:gd name="T22" fmla="*/ 2147483647 w 280"/>
              <a:gd name="T23" fmla="*/ 2147483647 h 274"/>
              <a:gd name="T24" fmla="*/ 0 w 280"/>
              <a:gd name="T25" fmla="*/ 2147483647 h 274"/>
              <a:gd name="T26" fmla="*/ 2147483647 w 280"/>
              <a:gd name="T27" fmla="*/ 2147483647 h 274"/>
              <a:gd name="T28" fmla="*/ 2147483647 w 280"/>
              <a:gd name="T29" fmla="*/ 2147483647 h 274"/>
              <a:gd name="T30" fmla="*/ 2147483647 w 280"/>
              <a:gd name="T31" fmla="*/ 2147483647 h 274"/>
              <a:gd name="T32" fmla="*/ 2147483647 w 280"/>
              <a:gd name="T33" fmla="*/ 2147483647 h 274"/>
              <a:gd name="T34" fmla="*/ 2147483647 w 280"/>
              <a:gd name="T35" fmla="*/ 2147483647 h 274"/>
              <a:gd name="T36" fmla="*/ 2147483647 w 280"/>
              <a:gd name="T37" fmla="*/ 2147483647 h 274"/>
              <a:gd name="T38" fmla="*/ 2147483647 w 280"/>
              <a:gd name="T39" fmla="*/ 2147483647 h 274"/>
              <a:gd name="T40" fmla="*/ 2147483647 w 280"/>
              <a:gd name="T41" fmla="*/ 2147483647 h 274"/>
              <a:gd name="T42" fmla="*/ 2147483647 w 280"/>
              <a:gd name="T43" fmla="*/ 2147483647 h 274"/>
              <a:gd name="T44" fmla="*/ 2147483647 w 280"/>
              <a:gd name="T45" fmla="*/ 2147483647 h 2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80" h="274">
                <a:moveTo>
                  <a:pt x="280" y="217"/>
                </a:moveTo>
                <a:lnTo>
                  <a:pt x="261" y="195"/>
                </a:lnTo>
                <a:lnTo>
                  <a:pt x="226" y="188"/>
                </a:lnTo>
                <a:lnTo>
                  <a:pt x="205" y="159"/>
                </a:lnTo>
                <a:lnTo>
                  <a:pt x="222" y="113"/>
                </a:lnTo>
                <a:lnTo>
                  <a:pt x="198" y="94"/>
                </a:lnTo>
                <a:lnTo>
                  <a:pt x="198" y="25"/>
                </a:lnTo>
                <a:lnTo>
                  <a:pt x="144" y="0"/>
                </a:lnTo>
                <a:lnTo>
                  <a:pt x="126" y="21"/>
                </a:lnTo>
                <a:lnTo>
                  <a:pt x="103" y="53"/>
                </a:lnTo>
                <a:lnTo>
                  <a:pt x="63" y="69"/>
                </a:lnTo>
                <a:lnTo>
                  <a:pt x="2" y="124"/>
                </a:lnTo>
                <a:lnTo>
                  <a:pt x="0" y="157"/>
                </a:lnTo>
                <a:lnTo>
                  <a:pt x="44" y="165"/>
                </a:lnTo>
                <a:lnTo>
                  <a:pt x="52" y="178"/>
                </a:lnTo>
                <a:lnTo>
                  <a:pt x="44" y="220"/>
                </a:lnTo>
                <a:lnTo>
                  <a:pt x="73" y="274"/>
                </a:lnTo>
                <a:lnTo>
                  <a:pt x="90" y="257"/>
                </a:lnTo>
                <a:lnTo>
                  <a:pt x="123" y="241"/>
                </a:lnTo>
                <a:lnTo>
                  <a:pt x="155" y="209"/>
                </a:lnTo>
                <a:lnTo>
                  <a:pt x="178" y="197"/>
                </a:lnTo>
                <a:lnTo>
                  <a:pt x="209" y="209"/>
                </a:lnTo>
                <a:lnTo>
                  <a:pt x="280" y="217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18" name="Freeform 17"/>
          <p:cNvSpPr>
            <a:spLocks noChangeAspect="1"/>
          </p:cNvSpPr>
          <p:nvPr/>
        </p:nvSpPr>
        <p:spPr bwMode="gray">
          <a:xfrm>
            <a:off x="4706945" y="3783341"/>
            <a:ext cx="371475" cy="528637"/>
          </a:xfrm>
          <a:custGeom>
            <a:avLst/>
            <a:gdLst>
              <a:gd name="T0" fmla="*/ 2147483647 w 300"/>
              <a:gd name="T1" fmla="*/ 2147483647 h 483"/>
              <a:gd name="T2" fmla="*/ 2147483647 w 300"/>
              <a:gd name="T3" fmla="*/ 2147483647 h 483"/>
              <a:gd name="T4" fmla="*/ 2147483647 w 300"/>
              <a:gd name="T5" fmla="*/ 2147483647 h 483"/>
              <a:gd name="T6" fmla="*/ 2147483647 w 300"/>
              <a:gd name="T7" fmla="*/ 2147483647 h 483"/>
              <a:gd name="T8" fmla="*/ 2147483647 w 300"/>
              <a:gd name="T9" fmla="*/ 2147483647 h 483"/>
              <a:gd name="T10" fmla="*/ 2147483647 w 300"/>
              <a:gd name="T11" fmla="*/ 2147483647 h 483"/>
              <a:gd name="T12" fmla="*/ 2147483647 w 300"/>
              <a:gd name="T13" fmla="*/ 2147483647 h 483"/>
              <a:gd name="T14" fmla="*/ 2147483647 w 300"/>
              <a:gd name="T15" fmla="*/ 2147483647 h 483"/>
              <a:gd name="T16" fmla="*/ 2147483647 w 300"/>
              <a:gd name="T17" fmla="*/ 0 h 483"/>
              <a:gd name="T18" fmla="*/ 2147483647 w 300"/>
              <a:gd name="T19" fmla="*/ 0 h 483"/>
              <a:gd name="T20" fmla="*/ 2147483647 w 300"/>
              <a:gd name="T21" fmla="*/ 2147483647 h 483"/>
              <a:gd name="T22" fmla="*/ 2147483647 w 300"/>
              <a:gd name="T23" fmla="*/ 2147483647 h 483"/>
              <a:gd name="T24" fmla="*/ 2147483647 w 300"/>
              <a:gd name="T25" fmla="*/ 2147483647 h 483"/>
              <a:gd name="T26" fmla="*/ 2147483647 w 300"/>
              <a:gd name="T27" fmla="*/ 2147483647 h 483"/>
              <a:gd name="T28" fmla="*/ 2147483647 w 300"/>
              <a:gd name="T29" fmla="*/ 2147483647 h 483"/>
              <a:gd name="T30" fmla="*/ 2147483647 w 300"/>
              <a:gd name="T31" fmla="*/ 2147483647 h 483"/>
              <a:gd name="T32" fmla="*/ 2147483647 w 300"/>
              <a:gd name="T33" fmla="*/ 2147483647 h 483"/>
              <a:gd name="T34" fmla="*/ 2147483647 w 300"/>
              <a:gd name="T35" fmla="*/ 2147483647 h 483"/>
              <a:gd name="T36" fmla="*/ 2147483647 w 300"/>
              <a:gd name="T37" fmla="*/ 2147483647 h 483"/>
              <a:gd name="T38" fmla="*/ 2147483647 w 300"/>
              <a:gd name="T39" fmla="*/ 2147483647 h 483"/>
              <a:gd name="T40" fmla="*/ 2147483647 w 300"/>
              <a:gd name="T41" fmla="*/ 2147483647 h 483"/>
              <a:gd name="T42" fmla="*/ 0 w 300"/>
              <a:gd name="T43" fmla="*/ 2147483647 h 483"/>
              <a:gd name="T44" fmla="*/ 0 w 300"/>
              <a:gd name="T45" fmla="*/ 2147483647 h 483"/>
              <a:gd name="T46" fmla="*/ 2147483647 w 300"/>
              <a:gd name="T47" fmla="*/ 2147483647 h 483"/>
              <a:gd name="T48" fmla="*/ 2147483647 w 300"/>
              <a:gd name="T49" fmla="*/ 2147483647 h 483"/>
              <a:gd name="T50" fmla="*/ 2147483647 w 300"/>
              <a:gd name="T51" fmla="*/ 2147483647 h 483"/>
              <a:gd name="T52" fmla="*/ 2147483647 w 300"/>
              <a:gd name="T53" fmla="*/ 2147483647 h 483"/>
              <a:gd name="T54" fmla="*/ 2147483647 w 300"/>
              <a:gd name="T55" fmla="*/ 2147483647 h 483"/>
              <a:gd name="T56" fmla="*/ 2147483647 w 300"/>
              <a:gd name="T57" fmla="*/ 2147483647 h 483"/>
              <a:gd name="T58" fmla="*/ 2147483647 w 300"/>
              <a:gd name="T59" fmla="*/ 2147483647 h 483"/>
              <a:gd name="T60" fmla="*/ 2147483647 w 300"/>
              <a:gd name="T61" fmla="*/ 2147483647 h 483"/>
              <a:gd name="T62" fmla="*/ 2147483647 w 300"/>
              <a:gd name="T63" fmla="*/ 2147483647 h 483"/>
              <a:gd name="T64" fmla="*/ 2147483647 w 300"/>
              <a:gd name="T65" fmla="*/ 2147483647 h 483"/>
              <a:gd name="T66" fmla="*/ 2147483647 w 300"/>
              <a:gd name="T67" fmla="*/ 2147483647 h 483"/>
              <a:gd name="T68" fmla="*/ 2147483647 w 300"/>
              <a:gd name="T69" fmla="*/ 2147483647 h 483"/>
              <a:gd name="T70" fmla="*/ 2147483647 w 300"/>
              <a:gd name="T71" fmla="*/ 2147483647 h 483"/>
              <a:gd name="T72" fmla="*/ 2147483647 w 300"/>
              <a:gd name="T73" fmla="*/ 2147483647 h 483"/>
              <a:gd name="T74" fmla="*/ 2147483647 w 300"/>
              <a:gd name="T75" fmla="*/ 2147483647 h 48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00" h="483">
                <a:moveTo>
                  <a:pt x="300" y="297"/>
                </a:moveTo>
                <a:lnTo>
                  <a:pt x="298" y="274"/>
                </a:lnTo>
                <a:lnTo>
                  <a:pt x="269" y="220"/>
                </a:lnTo>
                <a:lnTo>
                  <a:pt x="277" y="178"/>
                </a:lnTo>
                <a:lnTo>
                  <a:pt x="269" y="165"/>
                </a:lnTo>
                <a:lnTo>
                  <a:pt x="225" y="157"/>
                </a:lnTo>
                <a:lnTo>
                  <a:pt x="227" y="124"/>
                </a:lnTo>
                <a:lnTo>
                  <a:pt x="288" y="69"/>
                </a:lnTo>
                <a:lnTo>
                  <a:pt x="252" y="0"/>
                </a:lnTo>
                <a:lnTo>
                  <a:pt x="232" y="0"/>
                </a:lnTo>
                <a:lnTo>
                  <a:pt x="192" y="40"/>
                </a:lnTo>
                <a:lnTo>
                  <a:pt x="148" y="50"/>
                </a:lnTo>
                <a:lnTo>
                  <a:pt x="123" y="25"/>
                </a:lnTo>
                <a:lnTo>
                  <a:pt x="102" y="48"/>
                </a:lnTo>
                <a:lnTo>
                  <a:pt x="79" y="63"/>
                </a:lnTo>
                <a:lnTo>
                  <a:pt x="71" y="107"/>
                </a:lnTo>
                <a:lnTo>
                  <a:pt x="44" y="170"/>
                </a:lnTo>
                <a:lnTo>
                  <a:pt x="58" y="180"/>
                </a:lnTo>
                <a:lnTo>
                  <a:pt x="44" y="232"/>
                </a:lnTo>
                <a:lnTo>
                  <a:pt x="50" y="253"/>
                </a:lnTo>
                <a:lnTo>
                  <a:pt x="48" y="266"/>
                </a:lnTo>
                <a:lnTo>
                  <a:pt x="0" y="312"/>
                </a:lnTo>
                <a:lnTo>
                  <a:pt x="0" y="335"/>
                </a:lnTo>
                <a:lnTo>
                  <a:pt x="35" y="362"/>
                </a:lnTo>
                <a:lnTo>
                  <a:pt x="37" y="385"/>
                </a:lnTo>
                <a:lnTo>
                  <a:pt x="56" y="406"/>
                </a:lnTo>
                <a:lnTo>
                  <a:pt x="46" y="470"/>
                </a:lnTo>
                <a:lnTo>
                  <a:pt x="56" y="483"/>
                </a:lnTo>
                <a:lnTo>
                  <a:pt x="81" y="481"/>
                </a:lnTo>
                <a:lnTo>
                  <a:pt x="96" y="483"/>
                </a:lnTo>
                <a:lnTo>
                  <a:pt x="167" y="441"/>
                </a:lnTo>
                <a:lnTo>
                  <a:pt x="173" y="401"/>
                </a:lnTo>
                <a:lnTo>
                  <a:pt x="192" y="382"/>
                </a:lnTo>
                <a:lnTo>
                  <a:pt x="188" y="364"/>
                </a:lnTo>
                <a:lnTo>
                  <a:pt x="185" y="322"/>
                </a:lnTo>
                <a:lnTo>
                  <a:pt x="227" y="284"/>
                </a:lnTo>
                <a:lnTo>
                  <a:pt x="257" y="301"/>
                </a:lnTo>
                <a:lnTo>
                  <a:pt x="300" y="297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19" name="Freeform 18"/>
          <p:cNvSpPr>
            <a:spLocks noChangeAspect="1"/>
          </p:cNvSpPr>
          <p:nvPr/>
        </p:nvSpPr>
        <p:spPr bwMode="gray">
          <a:xfrm>
            <a:off x="4554545" y="3786511"/>
            <a:ext cx="249237" cy="215900"/>
          </a:xfrm>
          <a:custGeom>
            <a:avLst/>
            <a:gdLst>
              <a:gd name="T0" fmla="*/ 2147483647 w 202"/>
              <a:gd name="T1" fmla="*/ 2147483647 h 197"/>
              <a:gd name="T2" fmla="*/ 2147483647 w 202"/>
              <a:gd name="T3" fmla="*/ 2147483647 h 197"/>
              <a:gd name="T4" fmla="*/ 2147483647 w 202"/>
              <a:gd name="T5" fmla="*/ 2147483647 h 197"/>
              <a:gd name="T6" fmla="*/ 2147483647 w 202"/>
              <a:gd name="T7" fmla="*/ 0 h 197"/>
              <a:gd name="T8" fmla="*/ 2147483647 w 202"/>
              <a:gd name="T9" fmla="*/ 2147483647 h 197"/>
              <a:gd name="T10" fmla="*/ 2147483647 w 202"/>
              <a:gd name="T11" fmla="*/ 2147483647 h 197"/>
              <a:gd name="T12" fmla="*/ 2147483647 w 202"/>
              <a:gd name="T13" fmla="*/ 2147483647 h 197"/>
              <a:gd name="T14" fmla="*/ 2147483647 w 202"/>
              <a:gd name="T15" fmla="*/ 2147483647 h 197"/>
              <a:gd name="T16" fmla="*/ 2147483647 w 202"/>
              <a:gd name="T17" fmla="*/ 2147483647 h 197"/>
              <a:gd name="T18" fmla="*/ 2147483647 w 202"/>
              <a:gd name="T19" fmla="*/ 2147483647 h 197"/>
              <a:gd name="T20" fmla="*/ 0 w 202"/>
              <a:gd name="T21" fmla="*/ 2147483647 h 197"/>
              <a:gd name="T22" fmla="*/ 2147483647 w 202"/>
              <a:gd name="T23" fmla="*/ 2147483647 h 197"/>
              <a:gd name="T24" fmla="*/ 2147483647 w 202"/>
              <a:gd name="T25" fmla="*/ 2147483647 h 197"/>
              <a:gd name="T26" fmla="*/ 2147483647 w 202"/>
              <a:gd name="T27" fmla="*/ 2147483647 h 197"/>
              <a:gd name="T28" fmla="*/ 2147483647 w 202"/>
              <a:gd name="T29" fmla="*/ 2147483647 h 197"/>
              <a:gd name="T30" fmla="*/ 2147483647 w 202"/>
              <a:gd name="T31" fmla="*/ 2147483647 h 197"/>
              <a:gd name="T32" fmla="*/ 2147483647 w 202"/>
              <a:gd name="T33" fmla="*/ 2147483647 h 197"/>
              <a:gd name="T34" fmla="*/ 2147483647 w 202"/>
              <a:gd name="T35" fmla="*/ 2147483647 h 19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202" h="197">
                <a:moveTo>
                  <a:pt x="167" y="168"/>
                </a:moveTo>
                <a:lnTo>
                  <a:pt x="194" y="105"/>
                </a:lnTo>
                <a:lnTo>
                  <a:pt x="202" y="61"/>
                </a:lnTo>
                <a:lnTo>
                  <a:pt x="175" y="0"/>
                </a:lnTo>
                <a:lnTo>
                  <a:pt x="123" y="19"/>
                </a:lnTo>
                <a:lnTo>
                  <a:pt x="123" y="32"/>
                </a:lnTo>
                <a:lnTo>
                  <a:pt x="98" y="67"/>
                </a:lnTo>
                <a:lnTo>
                  <a:pt x="71" y="67"/>
                </a:lnTo>
                <a:lnTo>
                  <a:pt x="25" y="42"/>
                </a:lnTo>
                <a:lnTo>
                  <a:pt x="4" y="76"/>
                </a:lnTo>
                <a:lnTo>
                  <a:pt x="0" y="165"/>
                </a:lnTo>
                <a:lnTo>
                  <a:pt x="6" y="193"/>
                </a:lnTo>
                <a:lnTo>
                  <a:pt x="22" y="184"/>
                </a:lnTo>
                <a:lnTo>
                  <a:pt x="43" y="197"/>
                </a:lnTo>
                <a:lnTo>
                  <a:pt x="71" y="165"/>
                </a:lnTo>
                <a:lnTo>
                  <a:pt x="100" y="153"/>
                </a:lnTo>
                <a:lnTo>
                  <a:pt x="148" y="157"/>
                </a:lnTo>
                <a:lnTo>
                  <a:pt x="167" y="168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20" name="Freeform 19"/>
          <p:cNvSpPr>
            <a:spLocks noChangeAspect="1"/>
          </p:cNvSpPr>
          <p:nvPr/>
        </p:nvSpPr>
        <p:spPr bwMode="gray">
          <a:xfrm>
            <a:off x="4408495" y="3635703"/>
            <a:ext cx="274637" cy="427039"/>
          </a:xfrm>
          <a:custGeom>
            <a:avLst/>
            <a:gdLst>
              <a:gd name="T0" fmla="*/ 0 w 221"/>
              <a:gd name="T1" fmla="*/ 2147483647 h 392"/>
              <a:gd name="T2" fmla="*/ 2147483647 w 221"/>
              <a:gd name="T3" fmla="*/ 2147483647 h 392"/>
              <a:gd name="T4" fmla="*/ 2147483647 w 221"/>
              <a:gd name="T5" fmla="*/ 2147483647 h 392"/>
              <a:gd name="T6" fmla="*/ 2147483647 w 221"/>
              <a:gd name="T7" fmla="*/ 2147483647 h 392"/>
              <a:gd name="T8" fmla="*/ 2147483647 w 221"/>
              <a:gd name="T9" fmla="*/ 2147483647 h 392"/>
              <a:gd name="T10" fmla="*/ 2147483647 w 221"/>
              <a:gd name="T11" fmla="*/ 2147483647 h 392"/>
              <a:gd name="T12" fmla="*/ 2147483647 w 221"/>
              <a:gd name="T13" fmla="*/ 0 h 392"/>
              <a:gd name="T14" fmla="*/ 2147483647 w 221"/>
              <a:gd name="T15" fmla="*/ 2147483647 h 392"/>
              <a:gd name="T16" fmla="*/ 2147483647 w 221"/>
              <a:gd name="T17" fmla="*/ 2147483647 h 392"/>
              <a:gd name="T18" fmla="*/ 2147483647 w 221"/>
              <a:gd name="T19" fmla="*/ 2147483647 h 392"/>
              <a:gd name="T20" fmla="*/ 2147483647 w 221"/>
              <a:gd name="T21" fmla="*/ 2147483647 h 392"/>
              <a:gd name="T22" fmla="*/ 2147483647 w 221"/>
              <a:gd name="T23" fmla="*/ 2147483647 h 392"/>
              <a:gd name="T24" fmla="*/ 2147483647 w 221"/>
              <a:gd name="T25" fmla="*/ 2147483647 h 392"/>
              <a:gd name="T26" fmla="*/ 2147483647 w 221"/>
              <a:gd name="T27" fmla="*/ 2147483647 h 392"/>
              <a:gd name="T28" fmla="*/ 2147483647 w 221"/>
              <a:gd name="T29" fmla="*/ 2147483647 h 392"/>
              <a:gd name="T30" fmla="*/ 2147483647 w 221"/>
              <a:gd name="T31" fmla="*/ 2147483647 h 392"/>
              <a:gd name="T32" fmla="*/ 2147483647 w 221"/>
              <a:gd name="T33" fmla="*/ 2147483647 h 392"/>
              <a:gd name="T34" fmla="*/ 2147483647 w 221"/>
              <a:gd name="T35" fmla="*/ 2147483647 h 392"/>
              <a:gd name="T36" fmla="*/ 2147483647 w 221"/>
              <a:gd name="T37" fmla="*/ 2147483647 h 392"/>
              <a:gd name="T38" fmla="*/ 2147483647 w 221"/>
              <a:gd name="T39" fmla="*/ 2147483647 h 392"/>
              <a:gd name="T40" fmla="*/ 2147483647 w 221"/>
              <a:gd name="T41" fmla="*/ 2147483647 h 392"/>
              <a:gd name="T42" fmla="*/ 2147483647 w 221"/>
              <a:gd name="T43" fmla="*/ 2147483647 h 392"/>
              <a:gd name="T44" fmla="*/ 2147483647 w 221"/>
              <a:gd name="T45" fmla="*/ 2147483647 h 392"/>
              <a:gd name="T46" fmla="*/ 2147483647 w 221"/>
              <a:gd name="T47" fmla="*/ 2147483647 h 392"/>
              <a:gd name="T48" fmla="*/ 2147483647 w 221"/>
              <a:gd name="T49" fmla="*/ 2147483647 h 392"/>
              <a:gd name="T50" fmla="*/ 2147483647 w 221"/>
              <a:gd name="T51" fmla="*/ 2147483647 h 392"/>
              <a:gd name="T52" fmla="*/ 2147483647 w 221"/>
              <a:gd name="T53" fmla="*/ 2147483647 h 392"/>
              <a:gd name="T54" fmla="*/ 0 w 221"/>
              <a:gd name="T55" fmla="*/ 2147483647 h 39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21" h="392">
                <a:moveTo>
                  <a:pt x="0" y="321"/>
                </a:moveTo>
                <a:lnTo>
                  <a:pt x="14" y="311"/>
                </a:lnTo>
                <a:lnTo>
                  <a:pt x="73" y="227"/>
                </a:lnTo>
                <a:lnTo>
                  <a:pt x="102" y="127"/>
                </a:lnTo>
                <a:lnTo>
                  <a:pt x="89" y="87"/>
                </a:lnTo>
                <a:lnTo>
                  <a:pt x="100" y="48"/>
                </a:lnTo>
                <a:lnTo>
                  <a:pt x="215" y="0"/>
                </a:lnTo>
                <a:lnTo>
                  <a:pt x="221" y="14"/>
                </a:lnTo>
                <a:lnTo>
                  <a:pt x="204" y="35"/>
                </a:lnTo>
                <a:lnTo>
                  <a:pt x="204" y="56"/>
                </a:lnTo>
                <a:lnTo>
                  <a:pt x="181" y="60"/>
                </a:lnTo>
                <a:lnTo>
                  <a:pt x="150" y="81"/>
                </a:lnTo>
                <a:lnTo>
                  <a:pt x="140" y="79"/>
                </a:lnTo>
                <a:lnTo>
                  <a:pt x="125" y="114"/>
                </a:lnTo>
                <a:lnTo>
                  <a:pt x="129" y="125"/>
                </a:lnTo>
                <a:lnTo>
                  <a:pt x="144" y="129"/>
                </a:lnTo>
                <a:lnTo>
                  <a:pt x="152" y="125"/>
                </a:lnTo>
                <a:lnTo>
                  <a:pt x="158" y="125"/>
                </a:lnTo>
                <a:lnTo>
                  <a:pt x="158" y="156"/>
                </a:lnTo>
                <a:lnTo>
                  <a:pt x="142" y="181"/>
                </a:lnTo>
                <a:lnTo>
                  <a:pt x="121" y="215"/>
                </a:lnTo>
                <a:lnTo>
                  <a:pt x="117" y="304"/>
                </a:lnTo>
                <a:lnTo>
                  <a:pt x="123" y="332"/>
                </a:lnTo>
                <a:lnTo>
                  <a:pt x="119" y="369"/>
                </a:lnTo>
                <a:lnTo>
                  <a:pt x="92" y="392"/>
                </a:lnTo>
                <a:lnTo>
                  <a:pt x="48" y="367"/>
                </a:lnTo>
                <a:lnTo>
                  <a:pt x="23" y="363"/>
                </a:lnTo>
                <a:lnTo>
                  <a:pt x="0" y="321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21" name="Freeform 20"/>
          <p:cNvSpPr>
            <a:spLocks noChangeAspect="1"/>
          </p:cNvSpPr>
          <p:nvPr/>
        </p:nvSpPr>
        <p:spPr bwMode="gray">
          <a:xfrm>
            <a:off x="4205288" y="3984953"/>
            <a:ext cx="355600" cy="288925"/>
          </a:xfrm>
          <a:custGeom>
            <a:avLst/>
            <a:gdLst>
              <a:gd name="T0" fmla="*/ 2147483647 w 288"/>
              <a:gd name="T1" fmla="*/ 2147483647 h 263"/>
              <a:gd name="T2" fmla="*/ 2147483647 w 288"/>
              <a:gd name="T3" fmla="*/ 2147483647 h 263"/>
              <a:gd name="T4" fmla="*/ 2147483647 w 288"/>
              <a:gd name="T5" fmla="*/ 2147483647 h 263"/>
              <a:gd name="T6" fmla="*/ 2147483647 w 288"/>
              <a:gd name="T7" fmla="*/ 2147483647 h 263"/>
              <a:gd name="T8" fmla="*/ 2147483647 w 288"/>
              <a:gd name="T9" fmla="*/ 2147483647 h 263"/>
              <a:gd name="T10" fmla="*/ 2147483647 w 288"/>
              <a:gd name="T11" fmla="*/ 2147483647 h 263"/>
              <a:gd name="T12" fmla="*/ 2147483647 w 288"/>
              <a:gd name="T13" fmla="*/ 2147483647 h 263"/>
              <a:gd name="T14" fmla="*/ 2147483647 w 288"/>
              <a:gd name="T15" fmla="*/ 2147483647 h 263"/>
              <a:gd name="T16" fmla="*/ 2147483647 w 288"/>
              <a:gd name="T17" fmla="*/ 2147483647 h 263"/>
              <a:gd name="T18" fmla="*/ 2147483647 w 288"/>
              <a:gd name="T19" fmla="*/ 2147483647 h 263"/>
              <a:gd name="T20" fmla="*/ 2147483647 w 288"/>
              <a:gd name="T21" fmla="*/ 2147483647 h 263"/>
              <a:gd name="T22" fmla="*/ 2147483647 w 288"/>
              <a:gd name="T23" fmla="*/ 2147483647 h 263"/>
              <a:gd name="T24" fmla="*/ 2147483647 w 288"/>
              <a:gd name="T25" fmla="*/ 0 h 263"/>
              <a:gd name="T26" fmla="*/ 2147483647 w 288"/>
              <a:gd name="T27" fmla="*/ 2147483647 h 263"/>
              <a:gd name="T28" fmla="*/ 2147483647 w 288"/>
              <a:gd name="T29" fmla="*/ 2147483647 h 263"/>
              <a:gd name="T30" fmla="*/ 2147483647 w 288"/>
              <a:gd name="T31" fmla="*/ 2147483647 h 263"/>
              <a:gd name="T32" fmla="*/ 2147483647 w 288"/>
              <a:gd name="T33" fmla="*/ 2147483647 h 263"/>
              <a:gd name="T34" fmla="*/ 2147483647 w 288"/>
              <a:gd name="T35" fmla="*/ 2147483647 h 263"/>
              <a:gd name="T36" fmla="*/ 2147483647 w 288"/>
              <a:gd name="T37" fmla="*/ 2147483647 h 263"/>
              <a:gd name="T38" fmla="*/ 2147483647 w 288"/>
              <a:gd name="T39" fmla="*/ 2147483647 h 263"/>
              <a:gd name="T40" fmla="*/ 2147483647 w 288"/>
              <a:gd name="T41" fmla="*/ 2147483647 h 263"/>
              <a:gd name="T42" fmla="*/ 2147483647 w 288"/>
              <a:gd name="T43" fmla="*/ 2147483647 h 263"/>
              <a:gd name="T44" fmla="*/ 2147483647 w 288"/>
              <a:gd name="T45" fmla="*/ 2147483647 h 263"/>
              <a:gd name="T46" fmla="*/ 2147483647 w 288"/>
              <a:gd name="T47" fmla="*/ 2147483647 h 263"/>
              <a:gd name="T48" fmla="*/ 0 w 288"/>
              <a:gd name="T49" fmla="*/ 2147483647 h 263"/>
              <a:gd name="T50" fmla="*/ 2147483647 w 288"/>
              <a:gd name="T51" fmla="*/ 2147483647 h 263"/>
              <a:gd name="T52" fmla="*/ 2147483647 w 288"/>
              <a:gd name="T53" fmla="*/ 2147483647 h 26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88" h="263">
                <a:moveTo>
                  <a:pt x="60" y="263"/>
                </a:moveTo>
                <a:lnTo>
                  <a:pt x="81" y="247"/>
                </a:lnTo>
                <a:lnTo>
                  <a:pt x="100" y="228"/>
                </a:lnTo>
                <a:lnTo>
                  <a:pt x="138" y="209"/>
                </a:lnTo>
                <a:lnTo>
                  <a:pt x="148" y="180"/>
                </a:lnTo>
                <a:lnTo>
                  <a:pt x="175" y="180"/>
                </a:lnTo>
                <a:lnTo>
                  <a:pt x="188" y="157"/>
                </a:lnTo>
                <a:lnTo>
                  <a:pt x="279" y="146"/>
                </a:lnTo>
                <a:lnTo>
                  <a:pt x="288" y="128"/>
                </a:lnTo>
                <a:lnTo>
                  <a:pt x="257" y="71"/>
                </a:lnTo>
                <a:lnTo>
                  <a:pt x="213" y="46"/>
                </a:lnTo>
                <a:lnTo>
                  <a:pt x="188" y="42"/>
                </a:lnTo>
                <a:lnTo>
                  <a:pt x="165" y="0"/>
                </a:lnTo>
                <a:lnTo>
                  <a:pt x="123" y="25"/>
                </a:lnTo>
                <a:lnTo>
                  <a:pt x="98" y="105"/>
                </a:lnTo>
                <a:lnTo>
                  <a:pt x="117" y="132"/>
                </a:lnTo>
                <a:lnTo>
                  <a:pt x="119" y="157"/>
                </a:lnTo>
                <a:lnTo>
                  <a:pt x="108" y="161"/>
                </a:lnTo>
                <a:lnTo>
                  <a:pt x="81" y="186"/>
                </a:lnTo>
                <a:lnTo>
                  <a:pt x="69" y="186"/>
                </a:lnTo>
                <a:lnTo>
                  <a:pt x="60" y="201"/>
                </a:lnTo>
                <a:lnTo>
                  <a:pt x="48" y="203"/>
                </a:lnTo>
                <a:lnTo>
                  <a:pt x="31" y="226"/>
                </a:lnTo>
                <a:lnTo>
                  <a:pt x="16" y="217"/>
                </a:lnTo>
                <a:lnTo>
                  <a:pt x="0" y="217"/>
                </a:lnTo>
                <a:lnTo>
                  <a:pt x="10" y="246"/>
                </a:lnTo>
                <a:lnTo>
                  <a:pt x="60" y="263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22" name="Freeform 21"/>
          <p:cNvSpPr>
            <a:spLocks noChangeAspect="1"/>
          </p:cNvSpPr>
          <p:nvPr/>
        </p:nvSpPr>
        <p:spPr bwMode="gray">
          <a:xfrm>
            <a:off x="4418020" y="3954792"/>
            <a:ext cx="358775" cy="382587"/>
          </a:xfrm>
          <a:custGeom>
            <a:avLst/>
            <a:gdLst>
              <a:gd name="T0" fmla="*/ 2147483647 w 288"/>
              <a:gd name="T1" fmla="*/ 2147483647 h 349"/>
              <a:gd name="T2" fmla="*/ 2147483647 w 288"/>
              <a:gd name="T3" fmla="*/ 2147483647 h 349"/>
              <a:gd name="T4" fmla="*/ 2147483647 w 288"/>
              <a:gd name="T5" fmla="*/ 2147483647 h 349"/>
              <a:gd name="T6" fmla="*/ 2147483647 w 288"/>
              <a:gd name="T7" fmla="*/ 2147483647 h 349"/>
              <a:gd name="T8" fmla="*/ 2147483647 w 288"/>
              <a:gd name="T9" fmla="*/ 2147483647 h 349"/>
              <a:gd name="T10" fmla="*/ 2147483647 w 288"/>
              <a:gd name="T11" fmla="*/ 2147483647 h 349"/>
              <a:gd name="T12" fmla="*/ 2147483647 w 288"/>
              <a:gd name="T13" fmla="*/ 2147483647 h 349"/>
              <a:gd name="T14" fmla="*/ 2147483647 w 288"/>
              <a:gd name="T15" fmla="*/ 2147483647 h 349"/>
              <a:gd name="T16" fmla="*/ 2147483647 w 288"/>
              <a:gd name="T17" fmla="*/ 2147483647 h 349"/>
              <a:gd name="T18" fmla="*/ 2147483647 w 288"/>
              <a:gd name="T19" fmla="*/ 2147483647 h 349"/>
              <a:gd name="T20" fmla="*/ 2147483647 w 288"/>
              <a:gd name="T21" fmla="*/ 2147483647 h 349"/>
              <a:gd name="T22" fmla="*/ 2147483647 w 288"/>
              <a:gd name="T23" fmla="*/ 2147483647 h 349"/>
              <a:gd name="T24" fmla="*/ 2147483647 w 288"/>
              <a:gd name="T25" fmla="*/ 2147483647 h 349"/>
              <a:gd name="T26" fmla="*/ 2147483647 w 288"/>
              <a:gd name="T27" fmla="*/ 2147483647 h 349"/>
              <a:gd name="T28" fmla="*/ 2147483647 w 288"/>
              <a:gd name="T29" fmla="*/ 2147483647 h 349"/>
              <a:gd name="T30" fmla="*/ 2147483647 w 288"/>
              <a:gd name="T31" fmla="*/ 2147483647 h 349"/>
              <a:gd name="T32" fmla="*/ 2147483647 w 288"/>
              <a:gd name="T33" fmla="*/ 2147483647 h 349"/>
              <a:gd name="T34" fmla="*/ 2147483647 w 288"/>
              <a:gd name="T35" fmla="*/ 2147483647 h 349"/>
              <a:gd name="T36" fmla="*/ 2147483647 w 288"/>
              <a:gd name="T37" fmla="*/ 2147483647 h 349"/>
              <a:gd name="T38" fmla="*/ 2147483647 w 288"/>
              <a:gd name="T39" fmla="*/ 2147483647 h 349"/>
              <a:gd name="T40" fmla="*/ 2147483647 w 288"/>
              <a:gd name="T41" fmla="*/ 2147483647 h 349"/>
              <a:gd name="T42" fmla="*/ 2147483647 w 288"/>
              <a:gd name="T43" fmla="*/ 2147483647 h 349"/>
              <a:gd name="T44" fmla="*/ 2147483647 w 288"/>
              <a:gd name="T45" fmla="*/ 0 h 349"/>
              <a:gd name="T46" fmla="*/ 2147483647 w 288"/>
              <a:gd name="T47" fmla="*/ 2147483647 h 349"/>
              <a:gd name="T48" fmla="*/ 2147483647 w 288"/>
              <a:gd name="T49" fmla="*/ 2147483647 h 349"/>
              <a:gd name="T50" fmla="*/ 2147483647 w 288"/>
              <a:gd name="T51" fmla="*/ 2147483647 h 349"/>
              <a:gd name="T52" fmla="*/ 2147483647 w 288"/>
              <a:gd name="T53" fmla="*/ 2147483647 h 349"/>
              <a:gd name="T54" fmla="*/ 2147483647 w 288"/>
              <a:gd name="T55" fmla="*/ 2147483647 h 349"/>
              <a:gd name="T56" fmla="*/ 2147483647 w 288"/>
              <a:gd name="T57" fmla="*/ 2147483647 h 349"/>
              <a:gd name="T58" fmla="*/ 2147483647 w 288"/>
              <a:gd name="T59" fmla="*/ 2147483647 h 349"/>
              <a:gd name="T60" fmla="*/ 2147483647 w 288"/>
              <a:gd name="T61" fmla="*/ 2147483647 h 349"/>
              <a:gd name="T62" fmla="*/ 2147483647 w 288"/>
              <a:gd name="T63" fmla="*/ 2147483647 h 349"/>
              <a:gd name="T64" fmla="*/ 0 w 288"/>
              <a:gd name="T65" fmla="*/ 2147483647 h 349"/>
              <a:gd name="T66" fmla="*/ 2147483647 w 288"/>
              <a:gd name="T67" fmla="*/ 2147483647 h 349"/>
              <a:gd name="T68" fmla="*/ 2147483647 w 288"/>
              <a:gd name="T69" fmla="*/ 2147483647 h 349"/>
              <a:gd name="T70" fmla="*/ 2147483647 w 288"/>
              <a:gd name="T71" fmla="*/ 2147483647 h 349"/>
              <a:gd name="T72" fmla="*/ 2147483647 w 288"/>
              <a:gd name="T73" fmla="*/ 2147483647 h 34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88" h="349">
                <a:moveTo>
                  <a:pt x="59" y="334"/>
                </a:moveTo>
                <a:lnTo>
                  <a:pt x="73" y="349"/>
                </a:lnTo>
                <a:lnTo>
                  <a:pt x="90" y="334"/>
                </a:lnTo>
                <a:lnTo>
                  <a:pt x="102" y="298"/>
                </a:lnTo>
                <a:lnTo>
                  <a:pt x="129" y="286"/>
                </a:lnTo>
                <a:lnTo>
                  <a:pt x="150" y="286"/>
                </a:lnTo>
                <a:lnTo>
                  <a:pt x="180" y="315"/>
                </a:lnTo>
                <a:lnTo>
                  <a:pt x="198" y="322"/>
                </a:lnTo>
                <a:lnTo>
                  <a:pt x="217" y="315"/>
                </a:lnTo>
                <a:lnTo>
                  <a:pt x="249" y="322"/>
                </a:lnTo>
                <a:lnTo>
                  <a:pt x="276" y="315"/>
                </a:lnTo>
                <a:lnTo>
                  <a:pt x="286" y="251"/>
                </a:lnTo>
                <a:lnTo>
                  <a:pt x="267" y="230"/>
                </a:lnTo>
                <a:lnTo>
                  <a:pt x="265" y="207"/>
                </a:lnTo>
                <a:lnTo>
                  <a:pt x="230" y="180"/>
                </a:lnTo>
                <a:lnTo>
                  <a:pt x="230" y="157"/>
                </a:lnTo>
                <a:lnTo>
                  <a:pt x="278" y="111"/>
                </a:lnTo>
                <a:lnTo>
                  <a:pt x="280" y="98"/>
                </a:lnTo>
                <a:lnTo>
                  <a:pt x="274" y="77"/>
                </a:lnTo>
                <a:lnTo>
                  <a:pt x="288" y="25"/>
                </a:lnTo>
                <a:lnTo>
                  <a:pt x="274" y="15"/>
                </a:lnTo>
                <a:lnTo>
                  <a:pt x="255" y="4"/>
                </a:lnTo>
                <a:lnTo>
                  <a:pt x="207" y="0"/>
                </a:lnTo>
                <a:lnTo>
                  <a:pt x="178" y="12"/>
                </a:lnTo>
                <a:lnTo>
                  <a:pt x="150" y="44"/>
                </a:lnTo>
                <a:lnTo>
                  <a:pt x="129" y="31"/>
                </a:lnTo>
                <a:lnTo>
                  <a:pt x="113" y="40"/>
                </a:lnTo>
                <a:lnTo>
                  <a:pt x="109" y="77"/>
                </a:lnTo>
                <a:lnTo>
                  <a:pt x="82" y="100"/>
                </a:lnTo>
                <a:lnTo>
                  <a:pt x="113" y="157"/>
                </a:lnTo>
                <a:lnTo>
                  <a:pt x="104" y="175"/>
                </a:lnTo>
                <a:lnTo>
                  <a:pt x="13" y="186"/>
                </a:lnTo>
                <a:lnTo>
                  <a:pt x="0" y="209"/>
                </a:lnTo>
                <a:lnTo>
                  <a:pt x="31" y="271"/>
                </a:lnTo>
                <a:lnTo>
                  <a:pt x="23" y="322"/>
                </a:lnTo>
                <a:lnTo>
                  <a:pt x="57" y="326"/>
                </a:lnTo>
                <a:lnTo>
                  <a:pt x="59" y="334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2" name="Freeform 22"/>
          <p:cNvSpPr>
            <a:spLocks noChangeAspect="1"/>
          </p:cNvSpPr>
          <p:nvPr/>
        </p:nvSpPr>
        <p:spPr bwMode="gray">
          <a:xfrm>
            <a:off x="5075239" y="4000830"/>
            <a:ext cx="303212" cy="144463"/>
          </a:xfrm>
          <a:custGeom>
            <a:avLst/>
            <a:gdLst/>
            <a:ahLst/>
            <a:cxnLst>
              <a:cxn ang="0">
                <a:pos x="2" y="100"/>
              </a:cxn>
              <a:cxn ang="0">
                <a:pos x="0" y="77"/>
              </a:cxn>
              <a:cxn ang="0">
                <a:pos x="17" y="60"/>
              </a:cxn>
              <a:cxn ang="0">
                <a:pos x="50" y="44"/>
              </a:cxn>
              <a:cxn ang="0">
                <a:pos x="82" y="12"/>
              </a:cxn>
              <a:cxn ang="0">
                <a:pos x="105" y="0"/>
              </a:cxn>
              <a:cxn ang="0">
                <a:pos x="136" y="12"/>
              </a:cxn>
              <a:cxn ang="0">
                <a:pos x="207" y="20"/>
              </a:cxn>
              <a:cxn ang="0">
                <a:pos x="244" y="64"/>
              </a:cxn>
              <a:cxn ang="0">
                <a:pos x="238" y="87"/>
              </a:cxn>
              <a:cxn ang="0">
                <a:pos x="242" y="127"/>
              </a:cxn>
              <a:cxn ang="0">
                <a:pos x="209" y="114"/>
              </a:cxn>
              <a:cxn ang="0">
                <a:pos x="149" y="133"/>
              </a:cxn>
              <a:cxn ang="0">
                <a:pos x="75" y="114"/>
              </a:cxn>
              <a:cxn ang="0">
                <a:pos x="42" y="119"/>
              </a:cxn>
              <a:cxn ang="0">
                <a:pos x="25" y="117"/>
              </a:cxn>
              <a:cxn ang="0">
                <a:pos x="2" y="100"/>
              </a:cxn>
            </a:cxnLst>
            <a:rect l="0" t="0" r="r" b="b"/>
            <a:pathLst>
              <a:path w="244" h="133">
                <a:moveTo>
                  <a:pt x="2" y="100"/>
                </a:moveTo>
                <a:lnTo>
                  <a:pt x="0" y="77"/>
                </a:lnTo>
                <a:lnTo>
                  <a:pt x="17" y="60"/>
                </a:lnTo>
                <a:lnTo>
                  <a:pt x="50" y="44"/>
                </a:lnTo>
                <a:lnTo>
                  <a:pt x="82" y="12"/>
                </a:lnTo>
                <a:lnTo>
                  <a:pt x="105" y="0"/>
                </a:lnTo>
                <a:lnTo>
                  <a:pt x="136" y="12"/>
                </a:lnTo>
                <a:lnTo>
                  <a:pt x="207" y="20"/>
                </a:lnTo>
                <a:lnTo>
                  <a:pt x="244" y="64"/>
                </a:lnTo>
                <a:lnTo>
                  <a:pt x="238" y="87"/>
                </a:lnTo>
                <a:lnTo>
                  <a:pt x="242" y="127"/>
                </a:lnTo>
                <a:lnTo>
                  <a:pt x="209" y="114"/>
                </a:lnTo>
                <a:lnTo>
                  <a:pt x="149" y="133"/>
                </a:lnTo>
                <a:lnTo>
                  <a:pt x="75" y="114"/>
                </a:lnTo>
                <a:lnTo>
                  <a:pt x="42" y="119"/>
                </a:lnTo>
                <a:lnTo>
                  <a:pt x="25" y="117"/>
                </a:lnTo>
                <a:lnTo>
                  <a:pt x="2" y="100"/>
                </a:lnTo>
                <a:close/>
              </a:path>
            </a:pathLst>
          </a:custGeom>
          <a:solidFill>
            <a:schemeClr val="accent3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3" name="Freeform 23"/>
          <p:cNvSpPr>
            <a:spLocks noChangeAspect="1"/>
          </p:cNvSpPr>
          <p:nvPr/>
        </p:nvSpPr>
        <p:spPr bwMode="gray">
          <a:xfrm>
            <a:off x="5127632" y="4124647"/>
            <a:ext cx="263525" cy="88900"/>
          </a:xfrm>
          <a:custGeom>
            <a:avLst/>
            <a:gdLst/>
            <a:ahLst/>
            <a:cxnLst>
              <a:cxn ang="0">
                <a:pos x="200" y="13"/>
              </a:cxn>
              <a:cxn ang="0">
                <a:pos x="167" y="0"/>
              </a:cxn>
              <a:cxn ang="0">
                <a:pos x="107" y="19"/>
              </a:cxn>
              <a:cxn ang="0">
                <a:pos x="33" y="0"/>
              </a:cxn>
              <a:cxn ang="0">
                <a:pos x="0" y="5"/>
              </a:cxn>
              <a:cxn ang="0">
                <a:pos x="50" y="46"/>
              </a:cxn>
              <a:cxn ang="0">
                <a:pos x="56" y="53"/>
              </a:cxn>
              <a:cxn ang="0">
                <a:pos x="83" y="59"/>
              </a:cxn>
              <a:cxn ang="0">
                <a:pos x="111" y="82"/>
              </a:cxn>
              <a:cxn ang="0">
                <a:pos x="136" y="59"/>
              </a:cxn>
              <a:cxn ang="0">
                <a:pos x="165" y="71"/>
              </a:cxn>
              <a:cxn ang="0">
                <a:pos x="178" y="40"/>
              </a:cxn>
              <a:cxn ang="0">
                <a:pos x="211" y="30"/>
              </a:cxn>
              <a:cxn ang="0">
                <a:pos x="200" y="13"/>
              </a:cxn>
            </a:cxnLst>
            <a:rect l="0" t="0" r="r" b="b"/>
            <a:pathLst>
              <a:path w="211" h="82">
                <a:moveTo>
                  <a:pt x="200" y="13"/>
                </a:moveTo>
                <a:lnTo>
                  <a:pt x="167" y="0"/>
                </a:lnTo>
                <a:lnTo>
                  <a:pt x="107" y="19"/>
                </a:lnTo>
                <a:lnTo>
                  <a:pt x="33" y="0"/>
                </a:lnTo>
                <a:lnTo>
                  <a:pt x="0" y="5"/>
                </a:lnTo>
                <a:lnTo>
                  <a:pt x="50" y="46"/>
                </a:lnTo>
                <a:lnTo>
                  <a:pt x="56" y="53"/>
                </a:lnTo>
                <a:lnTo>
                  <a:pt x="83" y="59"/>
                </a:lnTo>
                <a:lnTo>
                  <a:pt x="111" y="82"/>
                </a:lnTo>
                <a:lnTo>
                  <a:pt x="136" y="59"/>
                </a:lnTo>
                <a:lnTo>
                  <a:pt x="165" y="71"/>
                </a:lnTo>
                <a:lnTo>
                  <a:pt x="178" y="40"/>
                </a:lnTo>
                <a:lnTo>
                  <a:pt x="211" y="30"/>
                </a:lnTo>
                <a:lnTo>
                  <a:pt x="200" y="1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4" name="Freeform 24"/>
          <p:cNvSpPr>
            <a:spLocks noChangeAspect="1"/>
          </p:cNvSpPr>
          <p:nvPr/>
        </p:nvSpPr>
        <p:spPr bwMode="gray">
          <a:xfrm>
            <a:off x="5133982" y="4175447"/>
            <a:ext cx="200025" cy="152400"/>
          </a:xfrm>
          <a:custGeom>
            <a:avLst/>
            <a:gdLst/>
            <a:ahLst/>
            <a:cxnLst>
              <a:cxn ang="0">
                <a:pos x="46" y="0"/>
              </a:cxn>
              <a:cxn ang="0">
                <a:pos x="52" y="7"/>
              </a:cxn>
              <a:cxn ang="0">
                <a:pos x="79" y="13"/>
              </a:cxn>
              <a:cxn ang="0">
                <a:pos x="107" y="36"/>
              </a:cxn>
              <a:cxn ang="0">
                <a:pos x="132" y="13"/>
              </a:cxn>
              <a:cxn ang="0">
                <a:pos x="161" y="25"/>
              </a:cxn>
              <a:cxn ang="0">
                <a:pos x="146" y="55"/>
              </a:cxn>
              <a:cxn ang="0">
                <a:pos x="146" y="96"/>
              </a:cxn>
              <a:cxn ang="0">
                <a:pos x="155" y="103"/>
              </a:cxn>
              <a:cxn ang="0">
                <a:pos x="148" y="120"/>
              </a:cxn>
              <a:cxn ang="0">
                <a:pos x="144" y="124"/>
              </a:cxn>
              <a:cxn ang="0">
                <a:pos x="125" y="96"/>
              </a:cxn>
              <a:cxn ang="0">
                <a:pos x="67" y="92"/>
              </a:cxn>
              <a:cxn ang="0">
                <a:pos x="40" y="109"/>
              </a:cxn>
              <a:cxn ang="0">
                <a:pos x="29" y="140"/>
              </a:cxn>
              <a:cxn ang="0">
                <a:pos x="11" y="132"/>
              </a:cxn>
              <a:cxn ang="0">
                <a:pos x="11" y="80"/>
              </a:cxn>
              <a:cxn ang="0">
                <a:pos x="0" y="73"/>
              </a:cxn>
              <a:cxn ang="0">
                <a:pos x="4" y="61"/>
              </a:cxn>
              <a:cxn ang="0">
                <a:pos x="29" y="44"/>
              </a:cxn>
              <a:cxn ang="0">
                <a:pos x="46" y="0"/>
              </a:cxn>
            </a:cxnLst>
            <a:rect l="0" t="0" r="r" b="b"/>
            <a:pathLst>
              <a:path w="161" h="140">
                <a:moveTo>
                  <a:pt x="46" y="0"/>
                </a:moveTo>
                <a:lnTo>
                  <a:pt x="52" y="7"/>
                </a:lnTo>
                <a:lnTo>
                  <a:pt x="79" y="13"/>
                </a:lnTo>
                <a:lnTo>
                  <a:pt x="107" y="36"/>
                </a:lnTo>
                <a:lnTo>
                  <a:pt x="132" y="13"/>
                </a:lnTo>
                <a:lnTo>
                  <a:pt x="161" y="25"/>
                </a:lnTo>
                <a:lnTo>
                  <a:pt x="146" y="55"/>
                </a:lnTo>
                <a:lnTo>
                  <a:pt x="146" y="96"/>
                </a:lnTo>
                <a:lnTo>
                  <a:pt x="155" y="103"/>
                </a:lnTo>
                <a:lnTo>
                  <a:pt x="148" y="120"/>
                </a:lnTo>
                <a:lnTo>
                  <a:pt x="144" y="124"/>
                </a:lnTo>
                <a:lnTo>
                  <a:pt x="125" y="96"/>
                </a:lnTo>
                <a:lnTo>
                  <a:pt x="67" y="92"/>
                </a:lnTo>
                <a:lnTo>
                  <a:pt x="40" y="109"/>
                </a:lnTo>
                <a:lnTo>
                  <a:pt x="29" y="140"/>
                </a:lnTo>
                <a:lnTo>
                  <a:pt x="11" y="132"/>
                </a:lnTo>
                <a:lnTo>
                  <a:pt x="11" y="80"/>
                </a:lnTo>
                <a:lnTo>
                  <a:pt x="0" y="73"/>
                </a:lnTo>
                <a:lnTo>
                  <a:pt x="4" y="61"/>
                </a:lnTo>
                <a:lnTo>
                  <a:pt x="29" y="44"/>
                </a:lnTo>
                <a:lnTo>
                  <a:pt x="46" y="0"/>
                </a:lnTo>
                <a:close/>
              </a:path>
            </a:pathLst>
          </a:custGeom>
          <a:solidFill>
            <a:schemeClr val="accent3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26" name="Freeform 25"/>
          <p:cNvSpPr>
            <a:spLocks noChangeAspect="1"/>
          </p:cNvSpPr>
          <p:nvPr/>
        </p:nvSpPr>
        <p:spPr bwMode="gray">
          <a:xfrm>
            <a:off x="5351468" y="4070679"/>
            <a:ext cx="273051" cy="314325"/>
          </a:xfrm>
          <a:custGeom>
            <a:avLst/>
            <a:gdLst>
              <a:gd name="T0" fmla="*/ 2147483647 w 219"/>
              <a:gd name="T1" fmla="*/ 2147483647 h 287"/>
              <a:gd name="T2" fmla="*/ 2147483647 w 219"/>
              <a:gd name="T3" fmla="*/ 2147483647 h 287"/>
              <a:gd name="T4" fmla="*/ 2147483647 w 219"/>
              <a:gd name="T5" fmla="*/ 2147483647 h 287"/>
              <a:gd name="T6" fmla="*/ 2147483647 w 219"/>
              <a:gd name="T7" fmla="*/ 0 h 287"/>
              <a:gd name="T8" fmla="*/ 2147483647 w 219"/>
              <a:gd name="T9" fmla="*/ 2147483647 h 287"/>
              <a:gd name="T10" fmla="*/ 2147483647 w 219"/>
              <a:gd name="T11" fmla="*/ 2147483647 h 287"/>
              <a:gd name="T12" fmla="*/ 2147483647 w 219"/>
              <a:gd name="T13" fmla="*/ 2147483647 h 287"/>
              <a:gd name="T14" fmla="*/ 2147483647 w 219"/>
              <a:gd name="T15" fmla="*/ 2147483647 h 287"/>
              <a:gd name="T16" fmla="*/ 2147483647 w 219"/>
              <a:gd name="T17" fmla="*/ 2147483647 h 287"/>
              <a:gd name="T18" fmla="*/ 2147483647 w 219"/>
              <a:gd name="T19" fmla="*/ 2147483647 h 287"/>
              <a:gd name="T20" fmla="*/ 2147483647 w 219"/>
              <a:gd name="T21" fmla="*/ 2147483647 h 287"/>
              <a:gd name="T22" fmla="*/ 2147483647 w 219"/>
              <a:gd name="T23" fmla="*/ 2147483647 h 287"/>
              <a:gd name="T24" fmla="*/ 2147483647 w 219"/>
              <a:gd name="T25" fmla="*/ 2147483647 h 287"/>
              <a:gd name="T26" fmla="*/ 2147483647 w 219"/>
              <a:gd name="T27" fmla="*/ 2147483647 h 287"/>
              <a:gd name="T28" fmla="*/ 2147483647 w 219"/>
              <a:gd name="T29" fmla="*/ 2147483647 h 287"/>
              <a:gd name="T30" fmla="*/ 2147483647 w 219"/>
              <a:gd name="T31" fmla="*/ 2147483647 h 287"/>
              <a:gd name="T32" fmla="*/ 0 w 219"/>
              <a:gd name="T33" fmla="*/ 2147483647 h 287"/>
              <a:gd name="T34" fmla="*/ 2147483647 w 219"/>
              <a:gd name="T35" fmla="*/ 2147483647 h 287"/>
              <a:gd name="T36" fmla="*/ 2147483647 w 219"/>
              <a:gd name="T37" fmla="*/ 2147483647 h 287"/>
              <a:gd name="T38" fmla="*/ 2147483647 w 219"/>
              <a:gd name="T39" fmla="*/ 2147483647 h 287"/>
              <a:gd name="T40" fmla="*/ 2147483647 w 219"/>
              <a:gd name="T41" fmla="*/ 2147483647 h 287"/>
              <a:gd name="T42" fmla="*/ 2147483647 w 219"/>
              <a:gd name="T43" fmla="*/ 2147483647 h 287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219" h="287">
                <a:moveTo>
                  <a:pt x="33" y="80"/>
                </a:moveTo>
                <a:lnTo>
                  <a:pt x="22" y="63"/>
                </a:lnTo>
                <a:lnTo>
                  <a:pt x="18" y="23"/>
                </a:lnTo>
                <a:lnTo>
                  <a:pt x="24" y="0"/>
                </a:lnTo>
                <a:lnTo>
                  <a:pt x="39" y="19"/>
                </a:lnTo>
                <a:lnTo>
                  <a:pt x="83" y="44"/>
                </a:lnTo>
                <a:lnTo>
                  <a:pt x="125" y="42"/>
                </a:lnTo>
                <a:lnTo>
                  <a:pt x="191" y="21"/>
                </a:lnTo>
                <a:lnTo>
                  <a:pt x="219" y="65"/>
                </a:lnTo>
                <a:lnTo>
                  <a:pt x="166" y="92"/>
                </a:lnTo>
                <a:lnTo>
                  <a:pt x="131" y="161"/>
                </a:lnTo>
                <a:lnTo>
                  <a:pt x="131" y="205"/>
                </a:lnTo>
                <a:lnTo>
                  <a:pt x="79" y="243"/>
                </a:lnTo>
                <a:lnTo>
                  <a:pt x="54" y="249"/>
                </a:lnTo>
                <a:lnTo>
                  <a:pt x="31" y="280"/>
                </a:lnTo>
                <a:lnTo>
                  <a:pt x="8" y="287"/>
                </a:lnTo>
                <a:lnTo>
                  <a:pt x="0" y="280"/>
                </a:lnTo>
                <a:lnTo>
                  <a:pt x="12" y="243"/>
                </a:lnTo>
                <a:lnTo>
                  <a:pt x="8" y="180"/>
                </a:lnTo>
                <a:lnTo>
                  <a:pt x="60" y="122"/>
                </a:lnTo>
                <a:lnTo>
                  <a:pt x="54" y="92"/>
                </a:lnTo>
                <a:lnTo>
                  <a:pt x="33" y="80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6" name="Freeform 26"/>
          <p:cNvSpPr>
            <a:spLocks noChangeAspect="1"/>
          </p:cNvSpPr>
          <p:nvPr/>
        </p:nvSpPr>
        <p:spPr bwMode="gray">
          <a:xfrm>
            <a:off x="4511682" y="4267523"/>
            <a:ext cx="315913" cy="228600"/>
          </a:xfrm>
          <a:custGeom>
            <a:avLst/>
            <a:gdLst/>
            <a:ahLst/>
            <a:cxnLst>
              <a:cxn ang="0">
                <a:pos x="176" y="192"/>
              </a:cxn>
              <a:cxn ang="0">
                <a:pos x="127" y="196"/>
              </a:cxn>
              <a:cxn ang="0">
                <a:pos x="84" y="209"/>
              </a:cxn>
              <a:cxn ang="0">
                <a:pos x="80" y="207"/>
              </a:cxn>
              <a:cxn ang="0">
                <a:pos x="134" y="173"/>
              </a:cxn>
              <a:cxn ang="0">
                <a:pos x="138" y="165"/>
              </a:cxn>
              <a:cxn ang="0">
                <a:pos x="115" y="152"/>
              </a:cxn>
              <a:cxn ang="0">
                <a:pos x="84" y="161"/>
              </a:cxn>
              <a:cxn ang="0">
                <a:pos x="71" y="148"/>
              </a:cxn>
              <a:cxn ang="0">
                <a:pos x="61" y="136"/>
              </a:cxn>
              <a:cxn ang="0">
                <a:pos x="57" y="129"/>
              </a:cxn>
              <a:cxn ang="0">
                <a:pos x="50" y="173"/>
              </a:cxn>
              <a:cxn ang="0">
                <a:pos x="38" y="155"/>
              </a:cxn>
              <a:cxn ang="0">
                <a:pos x="36" y="111"/>
              </a:cxn>
              <a:cxn ang="0">
                <a:pos x="48" y="88"/>
              </a:cxn>
              <a:cxn ang="0">
                <a:pos x="34" y="63"/>
              </a:cxn>
              <a:cxn ang="0">
                <a:pos x="11" y="67"/>
              </a:cxn>
              <a:cxn ang="0">
                <a:pos x="0" y="63"/>
              </a:cxn>
              <a:cxn ang="0">
                <a:pos x="17" y="48"/>
              </a:cxn>
              <a:cxn ang="0">
                <a:pos x="29" y="12"/>
              </a:cxn>
              <a:cxn ang="0">
                <a:pos x="56" y="0"/>
              </a:cxn>
              <a:cxn ang="0">
                <a:pos x="77" y="0"/>
              </a:cxn>
              <a:cxn ang="0">
                <a:pos x="107" y="29"/>
              </a:cxn>
              <a:cxn ang="0">
                <a:pos x="125" y="36"/>
              </a:cxn>
              <a:cxn ang="0">
                <a:pos x="144" y="29"/>
              </a:cxn>
              <a:cxn ang="0">
                <a:pos x="176" y="36"/>
              </a:cxn>
              <a:cxn ang="0">
                <a:pos x="203" y="29"/>
              </a:cxn>
              <a:cxn ang="0">
                <a:pos x="213" y="42"/>
              </a:cxn>
              <a:cxn ang="0">
                <a:pos x="238" y="40"/>
              </a:cxn>
              <a:cxn ang="0">
                <a:pos x="253" y="42"/>
              </a:cxn>
              <a:cxn ang="0">
                <a:pos x="234" y="100"/>
              </a:cxn>
              <a:cxn ang="0">
                <a:pos x="198" y="142"/>
              </a:cxn>
              <a:cxn ang="0">
                <a:pos x="176" y="192"/>
              </a:cxn>
            </a:cxnLst>
            <a:rect l="0" t="0" r="r" b="b"/>
            <a:pathLst>
              <a:path w="253" h="209">
                <a:moveTo>
                  <a:pt x="176" y="192"/>
                </a:moveTo>
                <a:lnTo>
                  <a:pt x="127" y="196"/>
                </a:lnTo>
                <a:lnTo>
                  <a:pt x="84" y="209"/>
                </a:lnTo>
                <a:lnTo>
                  <a:pt x="80" y="207"/>
                </a:lnTo>
                <a:lnTo>
                  <a:pt x="134" y="173"/>
                </a:lnTo>
                <a:lnTo>
                  <a:pt x="138" y="165"/>
                </a:lnTo>
                <a:lnTo>
                  <a:pt x="115" y="152"/>
                </a:lnTo>
                <a:lnTo>
                  <a:pt x="84" y="161"/>
                </a:lnTo>
                <a:lnTo>
                  <a:pt x="71" y="148"/>
                </a:lnTo>
                <a:lnTo>
                  <a:pt x="61" y="136"/>
                </a:lnTo>
                <a:lnTo>
                  <a:pt x="57" y="129"/>
                </a:lnTo>
                <a:lnTo>
                  <a:pt x="50" y="173"/>
                </a:lnTo>
                <a:lnTo>
                  <a:pt x="38" y="155"/>
                </a:lnTo>
                <a:lnTo>
                  <a:pt x="36" y="111"/>
                </a:lnTo>
                <a:lnTo>
                  <a:pt x="48" y="88"/>
                </a:lnTo>
                <a:lnTo>
                  <a:pt x="34" y="63"/>
                </a:lnTo>
                <a:lnTo>
                  <a:pt x="11" y="67"/>
                </a:lnTo>
                <a:lnTo>
                  <a:pt x="0" y="63"/>
                </a:lnTo>
                <a:lnTo>
                  <a:pt x="17" y="48"/>
                </a:lnTo>
                <a:lnTo>
                  <a:pt x="29" y="12"/>
                </a:lnTo>
                <a:lnTo>
                  <a:pt x="56" y="0"/>
                </a:lnTo>
                <a:lnTo>
                  <a:pt x="77" y="0"/>
                </a:lnTo>
                <a:lnTo>
                  <a:pt x="107" y="29"/>
                </a:lnTo>
                <a:lnTo>
                  <a:pt x="125" y="36"/>
                </a:lnTo>
                <a:lnTo>
                  <a:pt x="144" y="29"/>
                </a:lnTo>
                <a:lnTo>
                  <a:pt x="176" y="36"/>
                </a:lnTo>
                <a:lnTo>
                  <a:pt x="203" y="29"/>
                </a:lnTo>
                <a:lnTo>
                  <a:pt x="213" y="42"/>
                </a:lnTo>
                <a:lnTo>
                  <a:pt x="238" y="40"/>
                </a:lnTo>
                <a:lnTo>
                  <a:pt x="253" y="42"/>
                </a:lnTo>
                <a:lnTo>
                  <a:pt x="234" y="100"/>
                </a:lnTo>
                <a:lnTo>
                  <a:pt x="198" y="142"/>
                </a:lnTo>
                <a:lnTo>
                  <a:pt x="176" y="192"/>
                </a:lnTo>
                <a:close/>
              </a:path>
            </a:pathLst>
          </a:custGeom>
          <a:solidFill>
            <a:schemeClr val="accent3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7" name="Freeform 27"/>
          <p:cNvSpPr>
            <a:spLocks noChangeAspect="1"/>
          </p:cNvSpPr>
          <p:nvPr/>
        </p:nvSpPr>
        <p:spPr bwMode="gray">
          <a:xfrm>
            <a:off x="4935539" y="4094492"/>
            <a:ext cx="254000" cy="230187"/>
          </a:xfrm>
          <a:custGeom>
            <a:avLst/>
            <a:gdLst/>
            <a:ahLst/>
            <a:cxnLst>
              <a:cxn ang="0">
                <a:pos x="155" y="32"/>
              </a:cxn>
              <a:cxn ang="0">
                <a:pos x="138" y="30"/>
              </a:cxn>
              <a:cxn ang="0">
                <a:pos x="115" y="13"/>
              </a:cxn>
              <a:cxn ang="0">
                <a:pos x="72" y="17"/>
              </a:cxn>
              <a:cxn ang="0">
                <a:pos x="42" y="0"/>
              </a:cxn>
              <a:cxn ang="0">
                <a:pos x="0" y="38"/>
              </a:cxn>
              <a:cxn ang="0">
                <a:pos x="3" y="80"/>
              </a:cxn>
              <a:cxn ang="0">
                <a:pos x="7" y="98"/>
              </a:cxn>
              <a:cxn ang="0">
                <a:pos x="7" y="153"/>
              </a:cxn>
              <a:cxn ang="0">
                <a:pos x="17" y="182"/>
              </a:cxn>
              <a:cxn ang="0">
                <a:pos x="23" y="182"/>
              </a:cxn>
              <a:cxn ang="0">
                <a:pos x="53" y="209"/>
              </a:cxn>
              <a:cxn ang="0">
                <a:pos x="63" y="199"/>
              </a:cxn>
              <a:cxn ang="0">
                <a:pos x="74" y="146"/>
              </a:cxn>
              <a:cxn ang="0">
                <a:pos x="124" y="157"/>
              </a:cxn>
              <a:cxn ang="0">
                <a:pos x="159" y="146"/>
              </a:cxn>
              <a:cxn ang="0">
                <a:pos x="163" y="134"/>
              </a:cxn>
              <a:cxn ang="0">
                <a:pos x="188" y="117"/>
              </a:cxn>
              <a:cxn ang="0">
                <a:pos x="205" y="73"/>
              </a:cxn>
              <a:cxn ang="0">
                <a:pos x="155" y="32"/>
              </a:cxn>
            </a:cxnLst>
            <a:rect l="0" t="0" r="r" b="b"/>
            <a:pathLst>
              <a:path w="205" h="209">
                <a:moveTo>
                  <a:pt x="155" y="32"/>
                </a:moveTo>
                <a:lnTo>
                  <a:pt x="138" y="30"/>
                </a:lnTo>
                <a:lnTo>
                  <a:pt x="115" y="13"/>
                </a:lnTo>
                <a:lnTo>
                  <a:pt x="72" y="17"/>
                </a:lnTo>
                <a:lnTo>
                  <a:pt x="42" y="0"/>
                </a:lnTo>
                <a:lnTo>
                  <a:pt x="0" y="38"/>
                </a:lnTo>
                <a:lnTo>
                  <a:pt x="3" y="80"/>
                </a:lnTo>
                <a:lnTo>
                  <a:pt x="7" y="98"/>
                </a:lnTo>
                <a:lnTo>
                  <a:pt x="7" y="153"/>
                </a:lnTo>
                <a:lnTo>
                  <a:pt x="17" y="182"/>
                </a:lnTo>
                <a:lnTo>
                  <a:pt x="23" y="182"/>
                </a:lnTo>
                <a:lnTo>
                  <a:pt x="53" y="209"/>
                </a:lnTo>
                <a:lnTo>
                  <a:pt x="63" y="199"/>
                </a:lnTo>
                <a:lnTo>
                  <a:pt x="74" y="146"/>
                </a:lnTo>
                <a:lnTo>
                  <a:pt x="124" y="157"/>
                </a:lnTo>
                <a:lnTo>
                  <a:pt x="159" y="146"/>
                </a:lnTo>
                <a:lnTo>
                  <a:pt x="163" y="134"/>
                </a:lnTo>
                <a:lnTo>
                  <a:pt x="188" y="117"/>
                </a:lnTo>
                <a:lnTo>
                  <a:pt x="205" y="73"/>
                </a:lnTo>
                <a:lnTo>
                  <a:pt x="155" y="3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29" name="Freeform 28"/>
          <p:cNvSpPr>
            <a:spLocks noChangeAspect="1"/>
          </p:cNvSpPr>
          <p:nvPr/>
        </p:nvSpPr>
        <p:spPr bwMode="gray">
          <a:xfrm>
            <a:off x="4732345" y="4202435"/>
            <a:ext cx="441325" cy="277812"/>
          </a:xfrm>
          <a:custGeom>
            <a:avLst/>
            <a:gdLst>
              <a:gd name="T0" fmla="*/ 2147483647 w 356"/>
              <a:gd name="T1" fmla="*/ 0 h 255"/>
              <a:gd name="T2" fmla="*/ 2147483647 w 356"/>
              <a:gd name="T3" fmla="*/ 2147483647 h 255"/>
              <a:gd name="T4" fmla="*/ 2147483647 w 356"/>
              <a:gd name="T5" fmla="*/ 2147483647 h 255"/>
              <a:gd name="T6" fmla="*/ 2147483647 w 356"/>
              <a:gd name="T7" fmla="*/ 2147483647 h 255"/>
              <a:gd name="T8" fmla="*/ 2147483647 w 356"/>
              <a:gd name="T9" fmla="*/ 2147483647 h 255"/>
              <a:gd name="T10" fmla="*/ 2147483647 w 356"/>
              <a:gd name="T11" fmla="*/ 2147483647 h 255"/>
              <a:gd name="T12" fmla="*/ 2147483647 w 356"/>
              <a:gd name="T13" fmla="*/ 2147483647 h 255"/>
              <a:gd name="T14" fmla="*/ 2147483647 w 356"/>
              <a:gd name="T15" fmla="*/ 2147483647 h 255"/>
              <a:gd name="T16" fmla="*/ 2147483647 w 356"/>
              <a:gd name="T17" fmla="*/ 2147483647 h 255"/>
              <a:gd name="T18" fmla="*/ 2147483647 w 356"/>
              <a:gd name="T19" fmla="*/ 2147483647 h 255"/>
              <a:gd name="T20" fmla="*/ 2147483647 w 356"/>
              <a:gd name="T21" fmla="*/ 2147483647 h 255"/>
              <a:gd name="T22" fmla="*/ 2147483647 w 356"/>
              <a:gd name="T23" fmla="*/ 2147483647 h 255"/>
              <a:gd name="T24" fmla="*/ 2147483647 w 356"/>
              <a:gd name="T25" fmla="*/ 2147483647 h 255"/>
              <a:gd name="T26" fmla="*/ 2147483647 w 356"/>
              <a:gd name="T27" fmla="*/ 2147483647 h 255"/>
              <a:gd name="T28" fmla="*/ 2147483647 w 356"/>
              <a:gd name="T29" fmla="*/ 2147483647 h 255"/>
              <a:gd name="T30" fmla="*/ 2147483647 w 356"/>
              <a:gd name="T31" fmla="*/ 2147483647 h 255"/>
              <a:gd name="T32" fmla="*/ 2147483647 w 356"/>
              <a:gd name="T33" fmla="*/ 2147483647 h 255"/>
              <a:gd name="T34" fmla="*/ 2147483647 w 356"/>
              <a:gd name="T35" fmla="*/ 2147483647 h 255"/>
              <a:gd name="T36" fmla="*/ 2147483647 w 356"/>
              <a:gd name="T37" fmla="*/ 2147483647 h 255"/>
              <a:gd name="T38" fmla="*/ 2147483647 w 356"/>
              <a:gd name="T39" fmla="*/ 2147483647 h 255"/>
              <a:gd name="T40" fmla="*/ 2147483647 w 356"/>
              <a:gd name="T41" fmla="*/ 2147483647 h 255"/>
              <a:gd name="T42" fmla="*/ 2147483647 w 356"/>
              <a:gd name="T43" fmla="*/ 2147483647 h 255"/>
              <a:gd name="T44" fmla="*/ 2147483647 w 356"/>
              <a:gd name="T45" fmla="*/ 2147483647 h 255"/>
              <a:gd name="T46" fmla="*/ 2147483647 w 356"/>
              <a:gd name="T47" fmla="*/ 2147483647 h 255"/>
              <a:gd name="T48" fmla="*/ 2147483647 w 356"/>
              <a:gd name="T49" fmla="*/ 2147483647 h 255"/>
              <a:gd name="T50" fmla="*/ 2147483647 w 356"/>
              <a:gd name="T51" fmla="*/ 2147483647 h 255"/>
              <a:gd name="T52" fmla="*/ 2147483647 w 356"/>
              <a:gd name="T53" fmla="*/ 2147483647 h 255"/>
              <a:gd name="T54" fmla="*/ 0 w 356"/>
              <a:gd name="T55" fmla="*/ 2147483647 h 255"/>
              <a:gd name="T56" fmla="*/ 2147483647 w 356"/>
              <a:gd name="T57" fmla="*/ 2147483647 h 255"/>
              <a:gd name="T58" fmla="*/ 2147483647 w 356"/>
              <a:gd name="T59" fmla="*/ 2147483647 h 255"/>
              <a:gd name="T60" fmla="*/ 2147483647 w 356"/>
              <a:gd name="T61" fmla="*/ 2147483647 h 255"/>
              <a:gd name="T62" fmla="*/ 2147483647 w 356"/>
              <a:gd name="T63" fmla="*/ 2147483647 h 255"/>
              <a:gd name="T64" fmla="*/ 2147483647 w 356"/>
              <a:gd name="T65" fmla="*/ 2147483647 h 255"/>
              <a:gd name="T66" fmla="*/ 2147483647 w 356"/>
              <a:gd name="T67" fmla="*/ 0 h 255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356" h="255">
                <a:moveTo>
                  <a:pt x="173" y="0"/>
                </a:moveTo>
                <a:lnTo>
                  <a:pt x="173" y="55"/>
                </a:lnTo>
                <a:lnTo>
                  <a:pt x="183" y="84"/>
                </a:lnTo>
                <a:lnTo>
                  <a:pt x="189" y="84"/>
                </a:lnTo>
                <a:lnTo>
                  <a:pt x="219" y="111"/>
                </a:lnTo>
                <a:lnTo>
                  <a:pt x="229" y="101"/>
                </a:lnTo>
                <a:lnTo>
                  <a:pt x="240" y="48"/>
                </a:lnTo>
                <a:lnTo>
                  <a:pt x="290" y="59"/>
                </a:lnTo>
                <a:lnTo>
                  <a:pt x="325" y="48"/>
                </a:lnTo>
                <a:lnTo>
                  <a:pt x="336" y="55"/>
                </a:lnTo>
                <a:lnTo>
                  <a:pt x="336" y="107"/>
                </a:lnTo>
                <a:lnTo>
                  <a:pt x="354" y="115"/>
                </a:lnTo>
                <a:lnTo>
                  <a:pt x="344" y="136"/>
                </a:lnTo>
                <a:lnTo>
                  <a:pt x="356" y="170"/>
                </a:lnTo>
                <a:lnTo>
                  <a:pt x="309" y="245"/>
                </a:lnTo>
                <a:lnTo>
                  <a:pt x="296" y="255"/>
                </a:lnTo>
                <a:lnTo>
                  <a:pt x="285" y="245"/>
                </a:lnTo>
                <a:lnTo>
                  <a:pt x="279" y="159"/>
                </a:lnTo>
                <a:lnTo>
                  <a:pt x="292" y="147"/>
                </a:lnTo>
                <a:lnTo>
                  <a:pt x="302" y="142"/>
                </a:lnTo>
                <a:lnTo>
                  <a:pt x="296" y="128"/>
                </a:lnTo>
                <a:lnTo>
                  <a:pt x="261" y="119"/>
                </a:lnTo>
                <a:lnTo>
                  <a:pt x="229" y="128"/>
                </a:lnTo>
                <a:lnTo>
                  <a:pt x="183" y="191"/>
                </a:lnTo>
                <a:lnTo>
                  <a:pt x="173" y="220"/>
                </a:lnTo>
                <a:lnTo>
                  <a:pt x="148" y="253"/>
                </a:lnTo>
                <a:lnTo>
                  <a:pt x="71" y="243"/>
                </a:lnTo>
                <a:lnTo>
                  <a:pt x="0" y="251"/>
                </a:lnTo>
                <a:lnTo>
                  <a:pt x="22" y="201"/>
                </a:lnTo>
                <a:lnTo>
                  <a:pt x="58" y="159"/>
                </a:lnTo>
                <a:lnTo>
                  <a:pt x="77" y="101"/>
                </a:lnTo>
                <a:lnTo>
                  <a:pt x="148" y="59"/>
                </a:lnTo>
                <a:lnTo>
                  <a:pt x="154" y="19"/>
                </a:lnTo>
                <a:lnTo>
                  <a:pt x="173" y="0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9" name="Freeform 29"/>
          <p:cNvSpPr>
            <a:spLocks noChangeAspect="1"/>
          </p:cNvSpPr>
          <p:nvPr/>
        </p:nvSpPr>
        <p:spPr bwMode="gray">
          <a:xfrm>
            <a:off x="4732345" y="4202435"/>
            <a:ext cx="441325" cy="277812"/>
          </a:xfrm>
          <a:custGeom>
            <a:avLst/>
            <a:gdLst/>
            <a:ahLst/>
            <a:cxnLst>
              <a:cxn ang="0">
                <a:pos x="0" y="251"/>
              </a:cxn>
              <a:cxn ang="0">
                <a:pos x="22" y="201"/>
              </a:cxn>
              <a:cxn ang="0">
                <a:pos x="58" y="159"/>
              </a:cxn>
              <a:cxn ang="0">
                <a:pos x="77" y="101"/>
              </a:cxn>
              <a:cxn ang="0">
                <a:pos x="148" y="59"/>
              </a:cxn>
              <a:cxn ang="0">
                <a:pos x="154" y="19"/>
              </a:cxn>
              <a:cxn ang="0">
                <a:pos x="173" y="0"/>
              </a:cxn>
              <a:cxn ang="0">
                <a:pos x="173" y="55"/>
              </a:cxn>
              <a:cxn ang="0">
                <a:pos x="183" y="84"/>
              </a:cxn>
              <a:cxn ang="0">
                <a:pos x="189" y="84"/>
              </a:cxn>
              <a:cxn ang="0">
                <a:pos x="219" y="111"/>
              </a:cxn>
              <a:cxn ang="0">
                <a:pos x="229" y="101"/>
              </a:cxn>
              <a:cxn ang="0">
                <a:pos x="240" y="48"/>
              </a:cxn>
              <a:cxn ang="0">
                <a:pos x="290" y="59"/>
              </a:cxn>
              <a:cxn ang="0">
                <a:pos x="325" y="48"/>
              </a:cxn>
              <a:cxn ang="0">
                <a:pos x="336" y="55"/>
              </a:cxn>
              <a:cxn ang="0">
                <a:pos x="336" y="107"/>
              </a:cxn>
              <a:cxn ang="0">
                <a:pos x="354" y="115"/>
              </a:cxn>
              <a:cxn ang="0">
                <a:pos x="344" y="136"/>
              </a:cxn>
              <a:cxn ang="0">
                <a:pos x="356" y="170"/>
              </a:cxn>
              <a:cxn ang="0">
                <a:pos x="309" y="245"/>
              </a:cxn>
              <a:cxn ang="0">
                <a:pos x="296" y="255"/>
              </a:cxn>
              <a:cxn ang="0">
                <a:pos x="285" y="245"/>
              </a:cxn>
              <a:cxn ang="0">
                <a:pos x="279" y="159"/>
              </a:cxn>
              <a:cxn ang="0">
                <a:pos x="292" y="147"/>
              </a:cxn>
              <a:cxn ang="0">
                <a:pos x="302" y="142"/>
              </a:cxn>
              <a:cxn ang="0">
                <a:pos x="296" y="128"/>
              </a:cxn>
              <a:cxn ang="0">
                <a:pos x="261" y="119"/>
              </a:cxn>
              <a:cxn ang="0">
                <a:pos x="229" y="128"/>
              </a:cxn>
              <a:cxn ang="0">
                <a:pos x="183" y="191"/>
              </a:cxn>
              <a:cxn ang="0">
                <a:pos x="173" y="220"/>
              </a:cxn>
              <a:cxn ang="0">
                <a:pos x="148" y="253"/>
              </a:cxn>
              <a:cxn ang="0">
                <a:pos x="71" y="243"/>
              </a:cxn>
              <a:cxn ang="0">
                <a:pos x="0" y="251"/>
              </a:cxn>
            </a:cxnLst>
            <a:rect l="0" t="0" r="r" b="b"/>
            <a:pathLst>
              <a:path w="356" h="255">
                <a:moveTo>
                  <a:pt x="0" y="251"/>
                </a:moveTo>
                <a:lnTo>
                  <a:pt x="22" y="201"/>
                </a:lnTo>
                <a:lnTo>
                  <a:pt x="58" y="159"/>
                </a:lnTo>
                <a:lnTo>
                  <a:pt x="77" y="101"/>
                </a:lnTo>
                <a:lnTo>
                  <a:pt x="148" y="59"/>
                </a:lnTo>
                <a:lnTo>
                  <a:pt x="154" y="19"/>
                </a:lnTo>
                <a:lnTo>
                  <a:pt x="173" y="0"/>
                </a:lnTo>
                <a:lnTo>
                  <a:pt x="173" y="55"/>
                </a:lnTo>
                <a:lnTo>
                  <a:pt x="183" y="84"/>
                </a:lnTo>
                <a:lnTo>
                  <a:pt x="189" y="84"/>
                </a:lnTo>
                <a:lnTo>
                  <a:pt x="219" y="111"/>
                </a:lnTo>
                <a:lnTo>
                  <a:pt x="229" y="101"/>
                </a:lnTo>
                <a:lnTo>
                  <a:pt x="240" y="48"/>
                </a:lnTo>
                <a:lnTo>
                  <a:pt x="290" y="59"/>
                </a:lnTo>
                <a:lnTo>
                  <a:pt x="325" y="48"/>
                </a:lnTo>
                <a:lnTo>
                  <a:pt x="336" y="55"/>
                </a:lnTo>
                <a:lnTo>
                  <a:pt x="336" y="107"/>
                </a:lnTo>
                <a:lnTo>
                  <a:pt x="354" y="115"/>
                </a:lnTo>
                <a:lnTo>
                  <a:pt x="344" y="136"/>
                </a:lnTo>
                <a:lnTo>
                  <a:pt x="356" y="170"/>
                </a:lnTo>
                <a:lnTo>
                  <a:pt x="309" y="245"/>
                </a:lnTo>
                <a:lnTo>
                  <a:pt x="296" y="255"/>
                </a:lnTo>
                <a:lnTo>
                  <a:pt x="285" y="245"/>
                </a:lnTo>
                <a:lnTo>
                  <a:pt x="279" y="159"/>
                </a:lnTo>
                <a:lnTo>
                  <a:pt x="292" y="147"/>
                </a:lnTo>
                <a:lnTo>
                  <a:pt x="302" y="142"/>
                </a:lnTo>
                <a:lnTo>
                  <a:pt x="296" y="128"/>
                </a:lnTo>
                <a:lnTo>
                  <a:pt x="261" y="119"/>
                </a:lnTo>
                <a:lnTo>
                  <a:pt x="229" y="128"/>
                </a:lnTo>
                <a:lnTo>
                  <a:pt x="183" y="191"/>
                </a:lnTo>
                <a:lnTo>
                  <a:pt x="173" y="220"/>
                </a:lnTo>
                <a:lnTo>
                  <a:pt x="148" y="253"/>
                </a:lnTo>
                <a:lnTo>
                  <a:pt x="71" y="243"/>
                </a:lnTo>
                <a:lnTo>
                  <a:pt x="0" y="251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0" name="Freeform 30"/>
          <p:cNvSpPr>
            <a:spLocks noChangeAspect="1"/>
          </p:cNvSpPr>
          <p:nvPr/>
        </p:nvSpPr>
        <p:spPr bwMode="gray">
          <a:xfrm>
            <a:off x="4300546" y="4319911"/>
            <a:ext cx="257175" cy="419100"/>
          </a:xfrm>
          <a:custGeom>
            <a:avLst/>
            <a:gdLst/>
            <a:ahLst/>
            <a:cxnLst>
              <a:cxn ang="0">
                <a:pos x="19" y="384"/>
              </a:cxn>
              <a:cxn ang="0">
                <a:pos x="61" y="328"/>
              </a:cxn>
              <a:cxn ang="0">
                <a:pos x="65" y="301"/>
              </a:cxn>
              <a:cxn ang="0">
                <a:pos x="86" y="292"/>
              </a:cxn>
              <a:cxn ang="0">
                <a:pos x="94" y="267"/>
              </a:cxn>
              <a:cxn ang="0">
                <a:pos x="146" y="242"/>
              </a:cxn>
              <a:cxn ang="0">
                <a:pos x="171" y="225"/>
              </a:cxn>
              <a:cxn ang="0">
                <a:pos x="207" y="228"/>
              </a:cxn>
              <a:cxn ang="0">
                <a:pos x="209" y="200"/>
              </a:cxn>
              <a:cxn ang="0">
                <a:pos x="167" y="165"/>
              </a:cxn>
              <a:cxn ang="0">
                <a:pos x="136" y="138"/>
              </a:cxn>
              <a:cxn ang="0">
                <a:pos x="159" y="65"/>
              </a:cxn>
              <a:cxn ang="0">
                <a:pos x="182" y="19"/>
              </a:cxn>
              <a:cxn ang="0">
                <a:pos x="171" y="15"/>
              </a:cxn>
              <a:cxn ang="0">
                <a:pos x="157" y="0"/>
              </a:cxn>
              <a:cxn ang="0">
                <a:pos x="125" y="52"/>
              </a:cxn>
              <a:cxn ang="0">
                <a:pos x="115" y="71"/>
              </a:cxn>
              <a:cxn ang="0">
                <a:pos x="90" y="88"/>
              </a:cxn>
              <a:cxn ang="0">
                <a:pos x="65" y="88"/>
              </a:cxn>
              <a:cxn ang="0">
                <a:pos x="33" y="125"/>
              </a:cxn>
              <a:cxn ang="0">
                <a:pos x="56" y="161"/>
              </a:cxn>
              <a:cxn ang="0">
                <a:pos x="81" y="188"/>
              </a:cxn>
              <a:cxn ang="0">
                <a:pos x="56" y="211"/>
              </a:cxn>
              <a:cxn ang="0">
                <a:pos x="50" y="226"/>
              </a:cxn>
              <a:cxn ang="0">
                <a:pos x="61" y="249"/>
              </a:cxn>
              <a:cxn ang="0">
                <a:pos x="50" y="284"/>
              </a:cxn>
              <a:cxn ang="0">
                <a:pos x="31" y="326"/>
              </a:cxn>
              <a:cxn ang="0">
                <a:pos x="0" y="353"/>
              </a:cxn>
              <a:cxn ang="0">
                <a:pos x="19" y="384"/>
              </a:cxn>
            </a:cxnLst>
            <a:rect l="0" t="0" r="r" b="b"/>
            <a:pathLst>
              <a:path w="209" h="384">
                <a:moveTo>
                  <a:pt x="19" y="384"/>
                </a:moveTo>
                <a:lnTo>
                  <a:pt x="61" y="328"/>
                </a:lnTo>
                <a:lnTo>
                  <a:pt x="65" y="301"/>
                </a:lnTo>
                <a:lnTo>
                  <a:pt x="86" y="292"/>
                </a:lnTo>
                <a:lnTo>
                  <a:pt x="94" y="267"/>
                </a:lnTo>
                <a:lnTo>
                  <a:pt x="146" y="242"/>
                </a:lnTo>
                <a:lnTo>
                  <a:pt x="171" y="225"/>
                </a:lnTo>
                <a:lnTo>
                  <a:pt x="207" y="228"/>
                </a:lnTo>
                <a:lnTo>
                  <a:pt x="209" y="200"/>
                </a:lnTo>
                <a:lnTo>
                  <a:pt x="167" y="165"/>
                </a:lnTo>
                <a:lnTo>
                  <a:pt x="136" y="138"/>
                </a:lnTo>
                <a:lnTo>
                  <a:pt x="159" y="65"/>
                </a:lnTo>
                <a:lnTo>
                  <a:pt x="182" y="19"/>
                </a:lnTo>
                <a:lnTo>
                  <a:pt x="171" y="15"/>
                </a:lnTo>
                <a:lnTo>
                  <a:pt x="157" y="0"/>
                </a:lnTo>
                <a:lnTo>
                  <a:pt x="125" y="52"/>
                </a:lnTo>
                <a:lnTo>
                  <a:pt x="115" y="71"/>
                </a:lnTo>
                <a:lnTo>
                  <a:pt x="90" y="88"/>
                </a:lnTo>
                <a:lnTo>
                  <a:pt x="65" y="88"/>
                </a:lnTo>
                <a:lnTo>
                  <a:pt x="33" y="125"/>
                </a:lnTo>
                <a:lnTo>
                  <a:pt x="56" y="161"/>
                </a:lnTo>
                <a:lnTo>
                  <a:pt x="81" y="188"/>
                </a:lnTo>
                <a:lnTo>
                  <a:pt x="56" y="211"/>
                </a:lnTo>
                <a:lnTo>
                  <a:pt x="50" y="226"/>
                </a:lnTo>
                <a:lnTo>
                  <a:pt x="61" y="249"/>
                </a:lnTo>
                <a:lnTo>
                  <a:pt x="50" y="284"/>
                </a:lnTo>
                <a:lnTo>
                  <a:pt x="31" y="326"/>
                </a:lnTo>
                <a:lnTo>
                  <a:pt x="0" y="353"/>
                </a:lnTo>
                <a:lnTo>
                  <a:pt x="19" y="384"/>
                </a:lnTo>
                <a:close/>
              </a:path>
            </a:pathLst>
          </a:custGeom>
          <a:solidFill>
            <a:schemeClr val="accent3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32" name="Freeform 31"/>
          <p:cNvSpPr>
            <a:spLocks noChangeAspect="1"/>
          </p:cNvSpPr>
          <p:nvPr/>
        </p:nvSpPr>
        <p:spPr bwMode="gray">
          <a:xfrm>
            <a:off x="4275145" y="4184979"/>
            <a:ext cx="219075" cy="271463"/>
          </a:xfrm>
          <a:custGeom>
            <a:avLst/>
            <a:gdLst>
              <a:gd name="T0" fmla="*/ 2147483647 w 174"/>
              <a:gd name="T1" fmla="*/ 2147483647 h 250"/>
              <a:gd name="T2" fmla="*/ 2147483647 w 174"/>
              <a:gd name="T3" fmla="*/ 2147483647 h 250"/>
              <a:gd name="T4" fmla="*/ 2147483647 w 174"/>
              <a:gd name="T5" fmla="*/ 2147483647 h 250"/>
              <a:gd name="T6" fmla="*/ 2147483647 w 174"/>
              <a:gd name="T7" fmla="*/ 2147483647 h 250"/>
              <a:gd name="T8" fmla="*/ 0 w 174"/>
              <a:gd name="T9" fmla="*/ 2147483647 h 250"/>
              <a:gd name="T10" fmla="*/ 2147483647 w 174"/>
              <a:gd name="T11" fmla="*/ 2147483647 h 250"/>
              <a:gd name="T12" fmla="*/ 2147483647 w 174"/>
              <a:gd name="T13" fmla="*/ 2147483647 h 250"/>
              <a:gd name="T14" fmla="*/ 2147483647 w 174"/>
              <a:gd name="T15" fmla="*/ 2147483647 h 250"/>
              <a:gd name="T16" fmla="*/ 2147483647 w 174"/>
              <a:gd name="T17" fmla="*/ 0 h 250"/>
              <a:gd name="T18" fmla="*/ 2147483647 w 174"/>
              <a:gd name="T19" fmla="*/ 0 h 250"/>
              <a:gd name="T20" fmla="*/ 2147483647 w 174"/>
              <a:gd name="T21" fmla="*/ 2147483647 h 250"/>
              <a:gd name="T22" fmla="*/ 2147483647 w 174"/>
              <a:gd name="T23" fmla="*/ 2147483647 h 250"/>
              <a:gd name="T24" fmla="*/ 2147483647 w 174"/>
              <a:gd name="T25" fmla="*/ 2147483647 h 250"/>
              <a:gd name="T26" fmla="*/ 2147483647 w 174"/>
              <a:gd name="T27" fmla="*/ 2147483647 h 250"/>
              <a:gd name="T28" fmla="*/ 2147483647 w 174"/>
              <a:gd name="T29" fmla="*/ 2147483647 h 250"/>
              <a:gd name="T30" fmla="*/ 2147483647 w 174"/>
              <a:gd name="T31" fmla="*/ 2147483647 h 250"/>
              <a:gd name="T32" fmla="*/ 2147483647 w 174"/>
              <a:gd name="T33" fmla="*/ 2147483647 h 250"/>
              <a:gd name="T34" fmla="*/ 2147483647 w 174"/>
              <a:gd name="T35" fmla="*/ 2147483647 h 250"/>
              <a:gd name="T36" fmla="*/ 2147483647 w 174"/>
              <a:gd name="T37" fmla="*/ 2147483647 h 25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174" h="250">
                <a:moveTo>
                  <a:pt x="50" y="250"/>
                </a:moveTo>
                <a:lnTo>
                  <a:pt x="25" y="184"/>
                </a:lnTo>
                <a:lnTo>
                  <a:pt x="11" y="165"/>
                </a:lnTo>
                <a:lnTo>
                  <a:pt x="21" y="125"/>
                </a:lnTo>
                <a:lnTo>
                  <a:pt x="0" y="83"/>
                </a:lnTo>
                <a:lnTo>
                  <a:pt x="21" y="67"/>
                </a:lnTo>
                <a:lnTo>
                  <a:pt x="40" y="48"/>
                </a:lnTo>
                <a:lnTo>
                  <a:pt x="78" y="29"/>
                </a:lnTo>
                <a:lnTo>
                  <a:pt x="88" y="0"/>
                </a:lnTo>
                <a:lnTo>
                  <a:pt x="115" y="0"/>
                </a:lnTo>
                <a:lnTo>
                  <a:pt x="146" y="62"/>
                </a:lnTo>
                <a:lnTo>
                  <a:pt x="138" y="113"/>
                </a:lnTo>
                <a:lnTo>
                  <a:pt x="172" y="117"/>
                </a:lnTo>
                <a:lnTo>
                  <a:pt x="174" y="125"/>
                </a:lnTo>
                <a:lnTo>
                  <a:pt x="142" y="177"/>
                </a:lnTo>
                <a:lnTo>
                  <a:pt x="132" y="196"/>
                </a:lnTo>
                <a:lnTo>
                  <a:pt x="107" y="213"/>
                </a:lnTo>
                <a:lnTo>
                  <a:pt x="82" y="213"/>
                </a:lnTo>
                <a:lnTo>
                  <a:pt x="50" y="250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33" name="Freeform 32"/>
          <p:cNvSpPr>
            <a:spLocks noChangeAspect="1"/>
          </p:cNvSpPr>
          <p:nvPr/>
        </p:nvSpPr>
        <p:spPr bwMode="gray">
          <a:xfrm>
            <a:off x="4303714" y="4235779"/>
            <a:ext cx="74612" cy="104775"/>
          </a:xfrm>
          <a:custGeom>
            <a:avLst/>
            <a:gdLst>
              <a:gd name="T0" fmla="*/ 2147483647 w 61"/>
              <a:gd name="T1" fmla="*/ 0 h 96"/>
              <a:gd name="T2" fmla="*/ 2147483647 w 61"/>
              <a:gd name="T3" fmla="*/ 2147483647 h 96"/>
              <a:gd name="T4" fmla="*/ 2147483647 w 61"/>
              <a:gd name="T5" fmla="*/ 0 h 96"/>
              <a:gd name="T6" fmla="*/ 2147483647 w 61"/>
              <a:gd name="T7" fmla="*/ 2147483647 h 96"/>
              <a:gd name="T8" fmla="*/ 2147483647 w 61"/>
              <a:gd name="T9" fmla="*/ 2147483647 h 96"/>
              <a:gd name="T10" fmla="*/ 2147483647 w 61"/>
              <a:gd name="T11" fmla="*/ 2147483647 h 96"/>
              <a:gd name="T12" fmla="*/ 2147483647 w 61"/>
              <a:gd name="T13" fmla="*/ 2147483647 h 96"/>
              <a:gd name="T14" fmla="*/ 0 w 61"/>
              <a:gd name="T15" fmla="*/ 2147483647 h 96"/>
              <a:gd name="T16" fmla="*/ 2147483647 w 61"/>
              <a:gd name="T17" fmla="*/ 2147483647 h 96"/>
              <a:gd name="T18" fmla="*/ 2147483647 w 61"/>
              <a:gd name="T19" fmla="*/ 0 h 9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61" h="96">
                <a:moveTo>
                  <a:pt x="36" y="0"/>
                </a:moveTo>
                <a:lnTo>
                  <a:pt x="27" y="18"/>
                </a:lnTo>
                <a:lnTo>
                  <a:pt x="36" y="0"/>
                </a:lnTo>
                <a:lnTo>
                  <a:pt x="61" y="6"/>
                </a:lnTo>
                <a:lnTo>
                  <a:pt x="61" y="48"/>
                </a:lnTo>
                <a:lnTo>
                  <a:pt x="25" y="96"/>
                </a:lnTo>
                <a:lnTo>
                  <a:pt x="8" y="89"/>
                </a:lnTo>
                <a:lnTo>
                  <a:pt x="0" y="50"/>
                </a:lnTo>
                <a:lnTo>
                  <a:pt x="27" y="18"/>
                </a:lnTo>
                <a:lnTo>
                  <a:pt x="36" y="0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34" name="Freeform 33"/>
          <p:cNvSpPr>
            <a:spLocks noChangeAspect="1"/>
          </p:cNvSpPr>
          <p:nvPr/>
        </p:nvSpPr>
        <p:spPr bwMode="gray">
          <a:xfrm>
            <a:off x="4303714" y="4235779"/>
            <a:ext cx="74612" cy="104775"/>
          </a:xfrm>
          <a:custGeom>
            <a:avLst/>
            <a:gdLst>
              <a:gd name="T0" fmla="*/ 2147483647 w 61"/>
              <a:gd name="T1" fmla="*/ 0 h 96"/>
              <a:gd name="T2" fmla="*/ 2147483647 w 61"/>
              <a:gd name="T3" fmla="*/ 2147483647 h 96"/>
              <a:gd name="T4" fmla="*/ 2147483647 w 61"/>
              <a:gd name="T5" fmla="*/ 0 h 96"/>
              <a:gd name="T6" fmla="*/ 2147483647 w 61"/>
              <a:gd name="T7" fmla="*/ 2147483647 h 96"/>
              <a:gd name="T8" fmla="*/ 2147483647 w 61"/>
              <a:gd name="T9" fmla="*/ 2147483647 h 96"/>
              <a:gd name="T10" fmla="*/ 2147483647 w 61"/>
              <a:gd name="T11" fmla="*/ 2147483647 h 96"/>
              <a:gd name="T12" fmla="*/ 2147483647 w 61"/>
              <a:gd name="T13" fmla="*/ 2147483647 h 96"/>
              <a:gd name="T14" fmla="*/ 0 w 61"/>
              <a:gd name="T15" fmla="*/ 2147483647 h 96"/>
              <a:gd name="T16" fmla="*/ 2147483647 w 61"/>
              <a:gd name="T17" fmla="*/ 2147483647 h 9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1" h="96">
                <a:moveTo>
                  <a:pt x="36" y="0"/>
                </a:moveTo>
                <a:lnTo>
                  <a:pt x="27" y="18"/>
                </a:lnTo>
                <a:lnTo>
                  <a:pt x="36" y="0"/>
                </a:lnTo>
                <a:lnTo>
                  <a:pt x="61" y="6"/>
                </a:lnTo>
                <a:lnTo>
                  <a:pt x="61" y="48"/>
                </a:lnTo>
                <a:lnTo>
                  <a:pt x="25" y="96"/>
                </a:lnTo>
                <a:lnTo>
                  <a:pt x="8" y="89"/>
                </a:lnTo>
                <a:lnTo>
                  <a:pt x="0" y="50"/>
                </a:lnTo>
                <a:lnTo>
                  <a:pt x="27" y="18"/>
                </a:lnTo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4" name="Freeform 34"/>
          <p:cNvSpPr>
            <a:spLocks noChangeAspect="1"/>
          </p:cNvSpPr>
          <p:nvPr/>
        </p:nvSpPr>
        <p:spPr bwMode="gray">
          <a:xfrm>
            <a:off x="4038607" y="4145292"/>
            <a:ext cx="303213" cy="325437"/>
          </a:xfrm>
          <a:custGeom>
            <a:avLst/>
            <a:gdLst/>
            <a:ahLst/>
            <a:cxnLst>
              <a:cxn ang="0">
                <a:pos x="178" y="297"/>
              </a:cxn>
              <a:cxn ang="0">
                <a:pos x="207" y="295"/>
              </a:cxn>
              <a:cxn ang="0">
                <a:pos x="242" y="284"/>
              </a:cxn>
              <a:cxn ang="0">
                <a:pos x="217" y="218"/>
              </a:cxn>
              <a:cxn ang="0">
                <a:pos x="203" y="199"/>
              </a:cxn>
              <a:cxn ang="0">
                <a:pos x="213" y="159"/>
              </a:cxn>
              <a:cxn ang="0">
                <a:pos x="192" y="117"/>
              </a:cxn>
              <a:cxn ang="0">
                <a:pos x="142" y="100"/>
              </a:cxn>
              <a:cxn ang="0">
                <a:pos x="132" y="71"/>
              </a:cxn>
              <a:cxn ang="0">
                <a:pos x="102" y="52"/>
              </a:cxn>
              <a:cxn ang="0">
                <a:pos x="77" y="65"/>
              </a:cxn>
              <a:cxn ang="0">
                <a:pos x="54" y="46"/>
              </a:cxn>
              <a:cxn ang="0">
                <a:pos x="75" y="23"/>
              </a:cxn>
              <a:cxn ang="0">
                <a:pos x="75" y="7"/>
              </a:cxn>
              <a:cxn ang="0">
                <a:pos x="55" y="0"/>
              </a:cxn>
              <a:cxn ang="0">
                <a:pos x="0" y="32"/>
              </a:cxn>
              <a:cxn ang="0">
                <a:pos x="6" y="55"/>
              </a:cxn>
              <a:cxn ang="0">
                <a:pos x="32" y="69"/>
              </a:cxn>
              <a:cxn ang="0">
                <a:pos x="36" y="103"/>
              </a:cxn>
              <a:cxn ang="0">
                <a:pos x="17" y="111"/>
              </a:cxn>
              <a:cxn ang="0">
                <a:pos x="21" y="128"/>
              </a:cxn>
              <a:cxn ang="0">
                <a:pos x="46" y="147"/>
              </a:cxn>
              <a:cxn ang="0">
                <a:pos x="111" y="182"/>
              </a:cxn>
              <a:cxn ang="0">
                <a:pos x="111" y="199"/>
              </a:cxn>
              <a:cxn ang="0">
                <a:pos x="138" y="224"/>
              </a:cxn>
              <a:cxn ang="0">
                <a:pos x="171" y="230"/>
              </a:cxn>
              <a:cxn ang="0">
                <a:pos x="178" y="247"/>
              </a:cxn>
              <a:cxn ang="0">
                <a:pos x="178" y="297"/>
              </a:cxn>
            </a:cxnLst>
            <a:rect l="0" t="0" r="r" b="b"/>
            <a:pathLst>
              <a:path w="242" h="297">
                <a:moveTo>
                  <a:pt x="178" y="297"/>
                </a:moveTo>
                <a:lnTo>
                  <a:pt x="207" y="295"/>
                </a:lnTo>
                <a:lnTo>
                  <a:pt x="242" y="284"/>
                </a:lnTo>
                <a:lnTo>
                  <a:pt x="217" y="218"/>
                </a:lnTo>
                <a:lnTo>
                  <a:pt x="203" y="199"/>
                </a:lnTo>
                <a:lnTo>
                  <a:pt x="213" y="159"/>
                </a:lnTo>
                <a:lnTo>
                  <a:pt x="192" y="117"/>
                </a:lnTo>
                <a:lnTo>
                  <a:pt x="142" y="100"/>
                </a:lnTo>
                <a:lnTo>
                  <a:pt x="132" y="71"/>
                </a:lnTo>
                <a:lnTo>
                  <a:pt x="102" y="52"/>
                </a:lnTo>
                <a:lnTo>
                  <a:pt x="77" y="65"/>
                </a:lnTo>
                <a:lnTo>
                  <a:pt x="54" y="46"/>
                </a:lnTo>
                <a:lnTo>
                  <a:pt x="75" y="23"/>
                </a:lnTo>
                <a:lnTo>
                  <a:pt x="75" y="7"/>
                </a:lnTo>
                <a:lnTo>
                  <a:pt x="55" y="0"/>
                </a:lnTo>
                <a:lnTo>
                  <a:pt x="0" y="32"/>
                </a:lnTo>
                <a:lnTo>
                  <a:pt x="6" y="55"/>
                </a:lnTo>
                <a:lnTo>
                  <a:pt x="32" y="69"/>
                </a:lnTo>
                <a:lnTo>
                  <a:pt x="36" y="103"/>
                </a:lnTo>
                <a:lnTo>
                  <a:pt x="17" y="111"/>
                </a:lnTo>
                <a:lnTo>
                  <a:pt x="21" y="128"/>
                </a:lnTo>
                <a:lnTo>
                  <a:pt x="46" y="147"/>
                </a:lnTo>
                <a:lnTo>
                  <a:pt x="111" y="182"/>
                </a:lnTo>
                <a:lnTo>
                  <a:pt x="111" y="199"/>
                </a:lnTo>
                <a:lnTo>
                  <a:pt x="138" y="224"/>
                </a:lnTo>
                <a:lnTo>
                  <a:pt x="171" y="230"/>
                </a:lnTo>
                <a:lnTo>
                  <a:pt x="178" y="247"/>
                </a:lnTo>
                <a:lnTo>
                  <a:pt x="178" y="297"/>
                </a:lnTo>
                <a:close/>
              </a:path>
            </a:pathLst>
          </a:custGeom>
          <a:solidFill>
            <a:schemeClr val="accent3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36" name="Freeform 35"/>
          <p:cNvSpPr>
            <a:spLocks noChangeAspect="1"/>
          </p:cNvSpPr>
          <p:nvPr/>
        </p:nvSpPr>
        <p:spPr bwMode="gray">
          <a:xfrm>
            <a:off x="4216406" y="4456442"/>
            <a:ext cx="184151" cy="250825"/>
          </a:xfrm>
          <a:custGeom>
            <a:avLst/>
            <a:gdLst>
              <a:gd name="T0" fmla="*/ 2147483647 w 146"/>
              <a:gd name="T1" fmla="*/ 2147483647 h 228"/>
              <a:gd name="T2" fmla="*/ 2147483647 w 146"/>
              <a:gd name="T3" fmla="*/ 2147483647 h 228"/>
              <a:gd name="T4" fmla="*/ 2147483647 w 146"/>
              <a:gd name="T5" fmla="*/ 2147483647 h 228"/>
              <a:gd name="T6" fmla="*/ 2147483647 w 146"/>
              <a:gd name="T7" fmla="*/ 2147483647 h 228"/>
              <a:gd name="T8" fmla="*/ 2147483647 w 146"/>
              <a:gd name="T9" fmla="*/ 2147483647 h 228"/>
              <a:gd name="T10" fmla="*/ 2147483647 w 146"/>
              <a:gd name="T11" fmla="*/ 2147483647 h 228"/>
              <a:gd name="T12" fmla="*/ 2147483647 w 146"/>
              <a:gd name="T13" fmla="*/ 2147483647 h 228"/>
              <a:gd name="T14" fmla="*/ 2147483647 w 146"/>
              <a:gd name="T15" fmla="*/ 2147483647 h 228"/>
              <a:gd name="T16" fmla="*/ 2147483647 w 146"/>
              <a:gd name="T17" fmla="*/ 0 h 228"/>
              <a:gd name="T18" fmla="*/ 2147483647 w 146"/>
              <a:gd name="T19" fmla="*/ 2147483647 h 228"/>
              <a:gd name="T20" fmla="*/ 2147483647 w 146"/>
              <a:gd name="T21" fmla="*/ 2147483647 h 228"/>
              <a:gd name="T22" fmla="*/ 2147483647 w 146"/>
              <a:gd name="T23" fmla="*/ 2147483647 h 228"/>
              <a:gd name="T24" fmla="*/ 2147483647 w 146"/>
              <a:gd name="T25" fmla="*/ 2147483647 h 228"/>
              <a:gd name="T26" fmla="*/ 2147483647 w 146"/>
              <a:gd name="T27" fmla="*/ 2147483647 h 228"/>
              <a:gd name="T28" fmla="*/ 2147483647 w 146"/>
              <a:gd name="T29" fmla="*/ 2147483647 h 228"/>
              <a:gd name="T30" fmla="*/ 2147483647 w 146"/>
              <a:gd name="T31" fmla="*/ 2147483647 h 228"/>
              <a:gd name="T32" fmla="*/ 0 w 146"/>
              <a:gd name="T33" fmla="*/ 2147483647 h 228"/>
              <a:gd name="T34" fmla="*/ 2147483647 w 146"/>
              <a:gd name="T35" fmla="*/ 2147483647 h 228"/>
              <a:gd name="T36" fmla="*/ 2147483647 w 146"/>
              <a:gd name="T37" fmla="*/ 2147483647 h 228"/>
              <a:gd name="T38" fmla="*/ 2147483647 w 146"/>
              <a:gd name="T39" fmla="*/ 2147483647 h 22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146" h="228">
                <a:moveTo>
                  <a:pt x="65" y="228"/>
                </a:moveTo>
                <a:lnTo>
                  <a:pt x="96" y="201"/>
                </a:lnTo>
                <a:lnTo>
                  <a:pt x="115" y="159"/>
                </a:lnTo>
                <a:lnTo>
                  <a:pt x="126" y="124"/>
                </a:lnTo>
                <a:lnTo>
                  <a:pt x="115" y="101"/>
                </a:lnTo>
                <a:lnTo>
                  <a:pt x="121" y="86"/>
                </a:lnTo>
                <a:lnTo>
                  <a:pt x="146" y="63"/>
                </a:lnTo>
                <a:lnTo>
                  <a:pt x="121" y="36"/>
                </a:lnTo>
                <a:lnTo>
                  <a:pt x="98" y="0"/>
                </a:lnTo>
                <a:lnTo>
                  <a:pt x="63" y="11"/>
                </a:lnTo>
                <a:lnTo>
                  <a:pt x="34" y="13"/>
                </a:lnTo>
                <a:lnTo>
                  <a:pt x="17" y="42"/>
                </a:lnTo>
                <a:lnTo>
                  <a:pt x="25" y="71"/>
                </a:lnTo>
                <a:lnTo>
                  <a:pt x="17" y="92"/>
                </a:lnTo>
                <a:lnTo>
                  <a:pt x="34" y="124"/>
                </a:lnTo>
                <a:lnTo>
                  <a:pt x="15" y="146"/>
                </a:lnTo>
                <a:lnTo>
                  <a:pt x="0" y="169"/>
                </a:lnTo>
                <a:lnTo>
                  <a:pt x="13" y="190"/>
                </a:lnTo>
                <a:lnTo>
                  <a:pt x="13" y="222"/>
                </a:lnTo>
                <a:lnTo>
                  <a:pt x="65" y="228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37" name="Freeform 36"/>
          <p:cNvSpPr>
            <a:spLocks noChangeAspect="1"/>
          </p:cNvSpPr>
          <p:nvPr/>
        </p:nvSpPr>
        <p:spPr bwMode="gray">
          <a:xfrm>
            <a:off x="4068763" y="4556454"/>
            <a:ext cx="254000" cy="269875"/>
          </a:xfrm>
          <a:custGeom>
            <a:avLst/>
            <a:gdLst>
              <a:gd name="T0" fmla="*/ 2147483647 w 203"/>
              <a:gd name="T1" fmla="*/ 2147483647 h 247"/>
              <a:gd name="T2" fmla="*/ 2147483647 w 203"/>
              <a:gd name="T3" fmla="*/ 2147483647 h 247"/>
              <a:gd name="T4" fmla="*/ 2147483647 w 203"/>
              <a:gd name="T5" fmla="*/ 2147483647 h 247"/>
              <a:gd name="T6" fmla="*/ 2147483647 w 203"/>
              <a:gd name="T7" fmla="*/ 2147483647 h 247"/>
              <a:gd name="T8" fmla="*/ 2147483647 w 203"/>
              <a:gd name="T9" fmla="*/ 2147483647 h 247"/>
              <a:gd name="T10" fmla="*/ 2147483647 w 203"/>
              <a:gd name="T11" fmla="*/ 2147483647 h 247"/>
              <a:gd name="T12" fmla="*/ 2147483647 w 203"/>
              <a:gd name="T13" fmla="*/ 2147483647 h 247"/>
              <a:gd name="T14" fmla="*/ 2147483647 w 203"/>
              <a:gd name="T15" fmla="*/ 2147483647 h 247"/>
              <a:gd name="T16" fmla="*/ 2147483647 w 203"/>
              <a:gd name="T17" fmla="*/ 2147483647 h 247"/>
              <a:gd name="T18" fmla="*/ 0 w 203"/>
              <a:gd name="T19" fmla="*/ 2147483647 h 247"/>
              <a:gd name="T20" fmla="*/ 0 w 203"/>
              <a:gd name="T21" fmla="*/ 2147483647 h 247"/>
              <a:gd name="T22" fmla="*/ 2147483647 w 203"/>
              <a:gd name="T23" fmla="*/ 2147483647 h 247"/>
              <a:gd name="T24" fmla="*/ 2147483647 w 203"/>
              <a:gd name="T25" fmla="*/ 2147483647 h 247"/>
              <a:gd name="T26" fmla="*/ 2147483647 w 203"/>
              <a:gd name="T27" fmla="*/ 2147483647 h 247"/>
              <a:gd name="T28" fmla="*/ 2147483647 w 203"/>
              <a:gd name="T29" fmla="*/ 2147483647 h 247"/>
              <a:gd name="T30" fmla="*/ 2147483647 w 203"/>
              <a:gd name="T31" fmla="*/ 0 h 247"/>
              <a:gd name="T32" fmla="*/ 2147483647 w 203"/>
              <a:gd name="T33" fmla="*/ 2147483647 h 247"/>
              <a:gd name="T34" fmla="*/ 2147483647 w 203"/>
              <a:gd name="T35" fmla="*/ 2147483647 h 247"/>
              <a:gd name="T36" fmla="*/ 2147483647 w 203"/>
              <a:gd name="T37" fmla="*/ 2147483647 h 247"/>
              <a:gd name="T38" fmla="*/ 2147483647 w 203"/>
              <a:gd name="T39" fmla="*/ 2147483647 h 247"/>
              <a:gd name="T40" fmla="*/ 2147483647 w 203"/>
              <a:gd name="T41" fmla="*/ 2147483647 h 247"/>
              <a:gd name="T42" fmla="*/ 2147483647 w 203"/>
              <a:gd name="T43" fmla="*/ 2147483647 h 247"/>
              <a:gd name="T44" fmla="*/ 2147483647 w 203"/>
              <a:gd name="T45" fmla="*/ 2147483647 h 24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03" h="247">
                <a:moveTo>
                  <a:pt x="203" y="167"/>
                </a:moveTo>
                <a:lnTo>
                  <a:pt x="192" y="190"/>
                </a:lnTo>
                <a:lnTo>
                  <a:pt x="188" y="213"/>
                </a:lnTo>
                <a:lnTo>
                  <a:pt x="153" y="244"/>
                </a:lnTo>
                <a:lnTo>
                  <a:pt x="148" y="247"/>
                </a:lnTo>
                <a:lnTo>
                  <a:pt x="101" y="217"/>
                </a:lnTo>
                <a:lnTo>
                  <a:pt x="61" y="190"/>
                </a:lnTo>
                <a:lnTo>
                  <a:pt x="55" y="178"/>
                </a:lnTo>
                <a:lnTo>
                  <a:pt x="61" y="171"/>
                </a:lnTo>
                <a:lnTo>
                  <a:pt x="0" y="115"/>
                </a:lnTo>
                <a:lnTo>
                  <a:pt x="0" y="100"/>
                </a:lnTo>
                <a:lnTo>
                  <a:pt x="15" y="80"/>
                </a:lnTo>
                <a:lnTo>
                  <a:pt x="9" y="50"/>
                </a:lnTo>
                <a:lnTo>
                  <a:pt x="6" y="32"/>
                </a:lnTo>
                <a:lnTo>
                  <a:pt x="115" y="4"/>
                </a:lnTo>
                <a:lnTo>
                  <a:pt x="136" y="0"/>
                </a:lnTo>
                <a:lnTo>
                  <a:pt x="153" y="32"/>
                </a:lnTo>
                <a:lnTo>
                  <a:pt x="134" y="54"/>
                </a:lnTo>
                <a:lnTo>
                  <a:pt x="119" y="77"/>
                </a:lnTo>
                <a:lnTo>
                  <a:pt x="132" y="98"/>
                </a:lnTo>
                <a:lnTo>
                  <a:pt x="132" y="130"/>
                </a:lnTo>
                <a:lnTo>
                  <a:pt x="184" y="136"/>
                </a:lnTo>
                <a:lnTo>
                  <a:pt x="203" y="167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7" name="Freeform 37"/>
          <p:cNvSpPr>
            <a:spLocks noChangeAspect="1"/>
          </p:cNvSpPr>
          <p:nvPr/>
        </p:nvSpPr>
        <p:spPr bwMode="gray">
          <a:xfrm>
            <a:off x="4065594" y="4364366"/>
            <a:ext cx="195263" cy="230187"/>
          </a:xfrm>
          <a:custGeom>
            <a:avLst/>
            <a:gdLst/>
            <a:ahLst/>
            <a:cxnLst>
              <a:cxn ang="0">
                <a:pos x="138" y="177"/>
              </a:cxn>
              <a:cxn ang="0">
                <a:pos x="117" y="181"/>
              </a:cxn>
              <a:cxn ang="0">
                <a:pos x="8" y="209"/>
              </a:cxn>
              <a:cxn ang="0">
                <a:pos x="0" y="192"/>
              </a:cxn>
              <a:cxn ang="0">
                <a:pos x="69" y="150"/>
              </a:cxn>
              <a:cxn ang="0">
                <a:pos x="82" y="115"/>
              </a:cxn>
              <a:cxn ang="0">
                <a:pos x="75" y="85"/>
              </a:cxn>
              <a:cxn ang="0">
                <a:pos x="96" y="66"/>
              </a:cxn>
              <a:cxn ang="0">
                <a:pos x="98" y="39"/>
              </a:cxn>
              <a:cxn ang="0">
                <a:pos x="80" y="12"/>
              </a:cxn>
              <a:cxn ang="0">
                <a:pos x="88" y="0"/>
              </a:cxn>
              <a:cxn ang="0">
                <a:pos x="115" y="25"/>
              </a:cxn>
              <a:cxn ang="0">
                <a:pos x="148" y="31"/>
              </a:cxn>
              <a:cxn ang="0">
                <a:pos x="155" y="48"/>
              </a:cxn>
              <a:cxn ang="0">
                <a:pos x="155" y="98"/>
              </a:cxn>
              <a:cxn ang="0">
                <a:pos x="138" y="127"/>
              </a:cxn>
              <a:cxn ang="0">
                <a:pos x="146" y="156"/>
              </a:cxn>
              <a:cxn ang="0">
                <a:pos x="138" y="177"/>
              </a:cxn>
            </a:cxnLst>
            <a:rect l="0" t="0" r="r" b="b"/>
            <a:pathLst>
              <a:path w="155" h="209">
                <a:moveTo>
                  <a:pt x="138" y="177"/>
                </a:moveTo>
                <a:lnTo>
                  <a:pt x="117" y="181"/>
                </a:lnTo>
                <a:lnTo>
                  <a:pt x="8" y="209"/>
                </a:lnTo>
                <a:lnTo>
                  <a:pt x="0" y="192"/>
                </a:lnTo>
                <a:lnTo>
                  <a:pt x="69" y="150"/>
                </a:lnTo>
                <a:lnTo>
                  <a:pt x="82" y="115"/>
                </a:lnTo>
                <a:lnTo>
                  <a:pt x="75" y="85"/>
                </a:lnTo>
                <a:lnTo>
                  <a:pt x="96" y="66"/>
                </a:lnTo>
                <a:lnTo>
                  <a:pt x="98" y="39"/>
                </a:lnTo>
                <a:lnTo>
                  <a:pt x="80" y="12"/>
                </a:lnTo>
                <a:lnTo>
                  <a:pt x="88" y="0"/>
                </a:lnTo>
                <a:lnTo>
                  <a:pt x="115" y="25"/>
                </a:lnTo>
                <a:lnTo>
                  <a:pt x="148" y="31"/>
                </a:lnTo>
                <a:lnTo>
                  <a:pt x="155" y="48"/>
                </a:lnTo>
                <a:lnTo>
                  <a:pt x="155" y="98"/>
                </a:lnTo>
                <a:lnTo>
                  <a:pt x="138" y="127"/>
                </a:lnTo>
                <a:lnTo>
                  <a:pt x="146" y="156"/>
                </a:lnTo>
                <a:lnTo>
                  <a:pt x="138" y="17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8" name="Freeform 38"/>
          <p:cNvSpPr>
            <a:spLocks noChangeAspect="1"/>
          </p:cNvSpPr>
          <p:nvPr/>
        </p:nvSpPr>
        <p:spPr bwMode="gray">
          <a:xfrm>
            <a:off x="3870333" y="4183392"/>
            <a:ext cx="315913" cy="293687"/>
          </a:xfrm>
          <a:custGeom>
            <a:avLst/>
            <a:gdLst/>
            <a:ahLst/>
            <a:cxnLst>
              <a:cxn ang="0">
                <a:pos x="32" y="121"/>
              </a:cxn>
              <a:cxn ang="0">
                <a:pos x="42" y="121"/>
              </a:cxn>
              <a:cxn ang="0">
                <a:pos x="55" y="108"/>
              </a:cxn>
              <a:cxn ang="0">
                <a:pos x="24" y="4"/>
              </a:cxn>
              <a:cxn ang="0">
                <a:pos x="42" y="0"/>
              </a:cxn>
              <a:cxn ang="0">
                <a:pos x="136" y="0"/>
              </a:cxn>
              <a:cxn ang="0">
                <a:pos x="142" y="23"/>
              </a:cxn>
              <a:cxn ang="0">
                <a:pos x="168" y="37"/>
              </a:cxn>
              <a:cxn ang="0">
                <a:pos x="172" y="71"/>
              </a:cxn>
              <a:cxn ang="0">
                <a:pos x="153" y="79"/>
              </a:cxn>
              <a:cxn ang="0">
                <a:pos x="157" y="96"/>
              </a:cxn>
              <a:cxn ang="0">
                <a:pos x="182" y="115"/>
              </a:cxn>
              <a:cxn ang="0">
                <a:pos x="247" y="150"/>
              </a:cxn>
              <a:cxn ang="0">
                <a:pos x="247" y="167"/>
              </a:cxn>
              <a:cxn ang="0">
                <a:pos x="239" y="179"/>
              </a:cxn>
              <a:cxn ang="0">
                <a:pos x="257" y="206"/>
              </a:cxn>
              <a:cxn ang="0">
                <a:pos x="255" y="233"/>
              </a:cxn>
              <a:cxn ang="0">
                <a:pos x="234" y="252"/>
              </a:cxn>
              <a:cxn ang="0">
                <a:pos x="216" y="242"/>
              </a:cxn>
              <a:cxn ang="0">
                <a:pos x="153" y="271"/>
              </a:cxn>
              <a:cxn ang="0">
                <a:pos x="67" y="231"/>
              </a:cxn>
              <a:cxn ang="0">
                <a:pos x="36" y="227"/>
              </a:cxn>
              <a:cxn ang="0">
                <a:pos x="26" y="227"/>
              </a:cxn>
              <a:cxn ang="0">
                <a:pos x="13" y="240"/>
              </a:cxn>
              <a:cxn ang="0">
                <a:pos x="0" y="186"/>
              </a:cxn>
              <a:cxn ang="0">
                <a:pos x="32" y="121"/>
              </a:cxn>
            </a:cxnLst>
            <a:rect l="0" t="0" r="r" b="b"/>
            <a:pathLst>
              <a:path w="257" h="271">
                <a:moveTo>
                  <a:pt x="32" y="121"/>
                </a:moveTo>
                <a:lnTo>
                  <a:pt x="42" y="121"/>
                </a:lnTo>
                <a:lnTo>
                  <a:pt x="55" y="108"/>
                </a:lnTo>
                <a:lnTo>
                  <a:pt x="24" y="4"/>
                </a:lnTo>
                <a:lnTo>
                  <a:pt x="42" y="0"/>
                </a:lnTo>
                <a:lnTo>
                  <a:pt x="136" y="0"/>
                </a:lnTo>
                <a:lnTo>
                  <a:pt x="142" y="23"/>
                </a:lnTo>
                <a:lnTo>
                  <a:pt x="168" y="37"/>
                </a:lnTo>
                <a:lnTo>
                  <a:pt x="172" y="71"/>
                </a:lnTo>
                <a:lnTo>
                  <a:pt x="153" y="79"/>
                </a:lnTo>
                <a:lnTo>
                  <a:pt x="157" y="96"/>
                </a:lnTo>
                <a:lnTo>
                  <a:pt x="182" y="115"/>
                </a:lnTo>
                <a:lnTo>
                  <a:pt x="247" y="150"/>
                </a:lnTo>
                <a:lnTo>
                  <a:pt x="247" y="167"/>
                </a:lnTo>
                <a:lnTo>
                  <a:pt x="239" y="179"/>
                </a:lnTo>
                <a:lnTo>
                  <a:pt x="257" y="206"/>
                </a:lnTo>
                <a:lnTo>
                  <a:pt x="255" y="233"/>
                </a:lnTo>
                <a:lnTo>
                  <a:pt x="234" y="252"/>
                </a:lnTo>
                <a:lnTo>
                  <a:pt x="216" y="242"/>
                </a:lnTo>
                <a:lnTo>
                  <a:pt x="153" y="271"/>
                </a:lnTo>
                <a:lnTo>
                  <a:pt x="67" y="231"/>
                </a:lnTo>
                <a:lnTo>
                  <a:pt x="36" y="227"/>
                </a:lnTo>
                <a:lnTo>
                  <a:pt x="26" y="227"/>
                </a:lnTo>
                <a:lnTo>
                  <a:pt x="13" y="240"/>
                </a:lnTo>
                <a:lnTo>
                  <a:pt x="0" y="186"/>
                </a:lnTo>
                <a:lnTo>
                  <a:pt x="32" y="121"/>
                </a:lnTo>
                <a:close/>
              </a:path>
            </a:pathLst>
          </a:custGeom>
          <a:solidFill>
            <a:schemeClr val="accent3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9" name="Freeform 39"/>
          <p:cNvSpPr>
            <a:spLocks noChangeAspect="1"/>
          </p:cNvSpPr>
          <p:nvPr/>
        </p:nvSpPr>
        <p:spPr bwMode="gray">
          <a:xfrm>
            <a:off x="3567120" y="4184973"/>
            <a:ext cx="371475" cy="165100"/>
          </a:xfrm>
          <a:custGeom>
            <a:avLst/>
            <a:gdLst/>
            <a:ahLst/>
            <a:cxnLst>
              <a:cxn ang="0">
                <a:pos x="274" y="117"/>
              </a:cxn>
              <a:cxn ang="0">
                <a:pos x="284" y="117"/>
              </a:cxn>
              <a:cxn ang="0">
                <a:pos x="297" y="104"/>
              </a:cxn>
              <a:cxn ang="0">
                <a:pos x="266" y="0"/>
              </a:cxn>
              <a:cxn ang="0">
                <a:pos x="180" y="27"/>
              </a:cxn>
              <a:cxn ang="0">
                <a:pos x="99" y="21"/>
              </a:cxn>
              <a:cxn ang="0">
                <a:pos x="36" y="40"/>
              </a:cxn>
              <a:cxn ang="0">
                <a:pos x="36" y="83"/>
              </a:cxn>
              <a:cxn ang="0">
                <a:pos x="9" y="111"/>
              </a:cxn>
              <a:cxn ang="0">
                <a:pos x="0" y="142"/>
              </a:cxn>
              <a:cxn ang="0">
                <a:pos x="30" y="152"/>
              </a:cxn>
              <a:cxn ang="0">
                <a:pos x="105" y="75"/>
              </a:cxn>
              <a:cxn ang="0">
                <a:pos x="124" y="83"/>
              </a:cxn>
              <a:cxn ang="0">
                <a:pos x="140" y="100"/>
              </a:cxn>
              <a:cxn ang="0">
                <a:pos x="147" y="100"/>
              </a:cxn>
              <a:cxn ang="0">
                <a:pos x="176" y="83"/>
              </a:cxn>
              <a:cxn ang="0">
                <a:pos x="215" y="92"/>
              </a:cxn>
              <a:cxn ang="0">
                <a:pos x="224" y="117"/>
              </a:cxn>
              <a:cxn ang="0">
                <a:pos x="255" y="115"/>
              </a:cxn>
              <a:cxn ang="0">
                <a:pos x="268" y="111"/>
              </a:cxn>
              <a:cxn ang="0">
                <a:pos x="272" y="111"/>
              </a:cxn>
              <a:cxn ang="0">
                <a:pos x="274" y="117"/>
              </a:cxn>
            </a:cxnLst>
            <a:rect l="0" t="0" r="r" b="b"/>
            <a:pathLst>
              <a:path w="297" h="152">
                <a:moveTo>
                  <a:pt x="274" y="117"/>
                </a:moveTo>
                <a:lnTo>
                  <a:pt x="284" y="117"/>
                </a:lnTo>
                <a:lnTo>
                  <a:pt x="297" y="104"/>
                </a:lnTo>
                <a:lnTo>
                  <a:pt x="266" y="0"/>
                </a:lnTo>
                <a:lnTo>
                  <a:pt x="180" y="27"/>
                </a:lnTo>
                <a:lnTo>
                  <a:pt x="99" y="21"/>
                </a:lnTo>
                <a:lnTo>
                  <a:pt x="36" y="40"/>
                </a:lnTo>
                <a:lnTo>
                  <a:pt x="36" y="83"/>
                </a:lnTo>
                <a:lnTo>
                  <a:pt x="9" y="111"/>
                </a:lnTo>
                <a:lnTo>
                  <a:pt x="0" y="142"/>
                </a:lnTo>
                <a:lnTo>
                  <a:pt x="30" y="152"/>
                </a:lnTo>
                <a:lnTo>
                  <a:pt x="105" y="75"/>
                </a:lnTo>
                <a:lnTo>
                  <a:pt x="124" y="83"/>
                </a:lnTo>
                <a:lnTo>
                  <a:pt x="140" y="100"/>
                </a:lnTo>
                <a:lnTo>
                  <a:pt x="147" y="100"/>
                </a:lnTo>
                <a:lnTo>
                  <a:pt x="176" y="83"/>
                </a:lnTo>
                <a:lnTo>
                  <a:pt x="215" y="92"/>
                </a:lnTo>
                <a:lnTo>
                  <a:pt x="224" y="117"/>
                </a:lnTo>
                <a:lnTo>
                  <a:pt x="255" y="115"/>
                </a:lnTo>
                <a:lnTo>
                  <a:pt x="268" y="111"/>
                </a:lnTo>
                <a:lnTo>
                  <a:pt x="272" y="111"/>
                </a:lnTo>
                <a:lnTo>
                  <a:pt x="274" y="117"/>
                </a:lnTo>
                <a:close/>
              </a:path>
            </a:pathLst>
          </a:custGeom>
          <a:solidFill>
            <a:schemeClr val="accent3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40" name="Freeform 40"/>
          <p:cNvSpPr>
            <a:spLocks noChangeAspect="1"/>
          </p:cNvSpPr>
          <p:nvPr/>
        </p:nvSpPr>
        <p:spPr bwMode="gray">
          <a:xfrm>
            <a:off x="3605213" y="4267523"/>
            <a:ext cx="304800" cy="255588"/>
          </a:xfrm>
          <a:custGeom>
            <a:avLst/>
            <a:gdLst/>
            <a:ahLst/>
            <a:cxnLst>
              <a:cxn ang="0">
                <a:pos x="27" y="219"/>
              </a:cxn>
              <a:cxn ang="0">
                <a:pos x="39" y="226"/>
              </a:cxn>
              <a:cxn ang="0">
                <a:pos x="46" y="223"/>
              </a:cxn>
              <a:cxn ang="0">
                <a:pos x="81" y="215"/>
              </a:cxn>
              <a:cxn ang="0">
                <a:pos x="94" y="234"/>
              </a:cxn>
              <a:cxn ang="0">
                <a:pos x="125" y="232"/>
              </a:cxn>
              <a:cxn ang="0">
                <a:pos x="131" y="192"/>
              </a:cxn>
              <a:cxn ang="0">
                <a:pos x="154" y="198"/>
              </a:cxn>
              <a:cxn ang="0">
                <a:pos x="183" y="184"/>
              </a:cxn>
              <a:cxn ang="0">
                <a:pos x="194" y="161"/>
              </a:cxn>
              <a:cxn ang="0">
                <a:pos x="225" y="161"/>
              </a:cxn>
              <a:cxn ang="0">
                <a:pos x="212" y="107"/>
              </a:cxn>
              <a:cxn ang="0">
                <a:pos x="244" y="42"/>
              </a:cxn>
              <a:cxn ang="0">
                <a:pos x="242" y="36"/>
              </a:cxn>
              <a:cxn ang="0">
                <a:pos x="238" y="36"/>
              </a:cxn>
              <a:cxn ang="0">
                <a:pos x="225" y="40"/>
              </a:cxn>
              <a:cxn ang="0">
                <a:pos x="194" y="42"/>
              </a:cxn>
              <a:cxn ang="0">
                <a:pos x="185" y="17"/>
              </a:cxn>
              <a:cxn ang="0">
                <a:pos x="146" y="8"/>
              </a:cxn>
              <a:cxn ang="0">
                <a:pos x="117" y="25"/>
              </a:cxn>
              <a:cxn ang="0">
                <a:pos x="110" y="25"/>
              </a:cxn>
              <a:cxn ang="0">
                <a:pos x="94" y="8"/>
              </a:cxn>
              <a:cxn ang="0">
                <a:pos x="75" y="0"/>
              </a:cxn>
              <a:cxn ang="0">
                <a:pos x="0" y="77"/>
              </a:cxn>
              <a:cxn ang="0">
                <a:pos x="27" y="219"/>
              </a:cxn>
            </a:cxnLst>
            <a:rect l="0" t="0" r="r" b="b"/>
            <a:pathLst>
              <a:path w="244" h="234">
                <a:moveTo>
                  <a:pt x="27" y="219"/>
                </a:moveTo>
                <a:lnTo>
                  <a:pt x="39" y="226"/>
                </a:lnTo>
                <a:lnTo>
                  <a:pt x="46" y="223"/>
                </a:lnTo>
                <a:lnTo>
                  <a:pt x="81" y="215"/>
                </a:lnTo>
                <a:lnTo>
                  <a:pt x="94" y="234"/>
                </a:lnTo>
                <a:lnTo>
                  <a:pt x="125" y="232"/>
                </a:lnTo>
                <a:lnTo>
                  <a:pt x="131" y="192"/>
                </a:lnTo>
                <a:lnTo>
                  <a:pt x="154" y="198"/>
                </a:lnTo>
                <a:lnTo>
                  <a:pt x="183" y="184"/>
                </a:lnTo>
                <a:lnTo>
                  <a:pt x="194" y="161"/>
                </a:lnTo>
                <a:lnTo>
                  <a:pt x="225" y="161"/>
                </a:lnTo>
                <a:lnTo>
                  <a:pt x="212" y="107"/>
                </a:lnTo>
                <a:lnTo>
                  <a:pt x="244" y="42"/>
                </a:lnTo>
                <a:lnTo>
                  <a:pt x="242" y="36"/>
                </a:lnTo>
                <a:lnTo>
                  <a:pt x="238" y="36"/>
                </a:lnTo>
                <a:lnTo>
                  <a:pt x="225" y="40"/>
                </a:lnTo>
                <a:lnTo>
                  <a:pt x="194" y="42"/>
                </a:lnTo>
                <a:lnTo>
                  <a:pt x="185" y="17"/>
                </a:lnTo>
                <a:lnTo>
                  <a:pt x="146" y="8"/>
                </a:lnTo>
                <a:lnTo>
                  <a:pt x="117" y="25"/>
                </a:lnTo>
                <a:lnTo>
                  <a:pt x="110" y="25"/>
                </a:lnTo>
                <a:lnTo>
                  <a:pt x="94" y="8"/>
                </a:lnTo>
                <a:lnTo>
                  <a:pt x="75" y="0"/>
                </a:lnTo>
                <a:lnTo>
                  <a:pt x="0" y="77"/>
                </a:lnTo>
                <a:lnTo>
                  <a:pt x="27" y="219"/>
                </a:lnTo>
                <a:close/>
              </a:path>
            </a:pathLst>
          </a:custGeom>
          <a:solidFill>
            <a:schemeClr val="accent3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42" name="Freeform 41"/>
          <p:cNvSpPr>
            <a:spLocks noChangeAspect="1"/>
          </p:cNvSpPr>
          <p:nvPr/>
        </p:nvSpPr>
        <p:spPr bwMode="gray">
          <a:xfrm>
            <a:off x="3170239" y="4189742"/>
            <a:ext cx="442912" cy="357187"/>
          </a:xfrm>
          <a:custGeom>
            <a:avLst/>
            <a:gdLst>
              <a:gd name="T0" fmla="*/ 2147483647 w 357"/>
              <a:gd name="T1" fmla="*/ 2147483647 h 326"/>
              <a:gd name="T2" fmla="*/ 2147483647 w 357"/>
              <a:gd name="T3" fmla="*/ 2147483647 h 326"/>
              <a:gd name="T4" fmla="*/ 2147483647 w 357"/>
              <a:gd name="T5" fmla="*/ 2147483647 h 326"/>
              <a:gd name="T6" fmla="*/ 2147483647 w 357"/>
              <a:gd name="T7" fmla="*/ 2147483647 h 326"/>
              <a:gd name="T8" fmla="*/ 2147483647 w 357"/>
              <a:gd name="T9" fmla="*/ 2147483647 h 326"/>
              <a:gd name="T10" fmla="*/ 2147483647 w 357"/>
              <a:gd name="T11" fmla="*/ 2147483647 h 326"/>
              <a:gd name="T12" fmla="*/ 2147483647 w 357"/>
              <a:gd name="T13" fmla="*/ 2147483647 h 326"/>
              <a:gd name="T14" fmla="*/ 2147483647 w 357"/>
              <a:gd name="T15" fmla="*/ 0 h 326"/>
              <a:gd name="T16" fmla="*/ 2147483647 w 357"/>
              <a:gd name="T17" fmla="*/ 2147483647 h 326"/>
              <a:gd name="T18" fmla="*/ 2147483647 w 357"/>
              <a:gd name="T19" fmla="*/ 2147483647 h 326"/>
              <a:gd name="T20" fmla="*/ 2147483647 w 357"/>
              <a:gd name="T21" fmla="*/ 2147483647 h 326"/>
              <a:gd name="T22" fmla="*/ 0 w 357"/>
              <a:gd name="T23" fmla="*/ 2147483647 h 326"/>
              <a:gd name="T24" fmla="*/ 0 w 357"/>
              <a:gd name="T25" fmla="*/ 2147483647 h 326"/>
              <a:gd name="T26" fmla="*/ 2147483647 w 357"/>
              <a:gd name="T27" fmla="*/ 2147483647 h 326"/>
              <a:gd name="T28" fmla="*/ 2147483647 w 357"/>
              <a:gd name="T29" fmla="*/ 2147483647 h 326"/>
              <a:gd name="T30" fmla="*/ 2147483647 w 357"/>
              <a:gd name="T31" fmla="*/ 2147483647 h 326"/>
              <a:gd name="T32" fmla="*/ 2147483647 w 357"/>
              <a:gd name="T33" fmla="*/ 2147483647 h 326"/>
              <a:gd name="T34" fmla="*/ 2147483647 w 357"/>
              <a:gd name="T35" fmla="*/ 2147483647 h 326"/>
              <a:gd name="T36" fmla="*/ 2147483647 w 357"/>
              <a:gd name="T37" fmla="*/ 2147483647 h 326"/>
              <a:gd name="T38" fmla="*/ 2147483647 w 357"/>
              <a:gd name="T39" fmla="*/ 2147483647 h 326"/>
              <a:gd name="T40" fmla="*/ 2147483647 w 357"/>
              <a:gd name="T41" fmla="*/ 2147483647 h 326"/>
              <a:gd name="T42" fmla="*/ 2147483647 w 357"/>
              <a:gd name="T43" fmla="*/ 2147483647 h 32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357" h="326">
                <a:moveTo>
                  <a:pt x="321" y="138"/>
                </a:moveTo>
                <a:lnTo>
                  <a:pt x="330" y="107"/>
                </a:lnTo>
                <a:lnTo>
                  <a:pt x="357" y="79"/>
                </a:lnTo>
                <a:lnTo>
                  <a:pt x="357" y="36"/>
                </a:lnTo>
                <a:lnTo>
                  <a:pt x="342" y="25"/>
                </a:lnTo>
                <a:lnTo>
                  <a:pt x="334" y="4"/>
                </a:lnTo>
                <a:lnTo>
                  <a:pt x="326" y="6"/>
                </a:lnTo>
                <a:lnTo>
                  <a:pt x="300" y="0"/>
                </a:lnTo>
                <a:lnTo>
                  <a:pt x="209" y="36"/>
                </a:lnTo>
                <a:lnTo>
                  <a:pt x="204" y="60"/>
                </a:lnTo>
                <a:lnTo>
                  <a:pt x="8" y="225"/>
                </a:lnTo>
                <a:lnTo>
                  <a:pt x="0" y="226"/>
                </a:lnTo>
                <a:lnTo>
                  <a:pt x="0" y="280"/>
                </a:lnTo>
                <a:lnTo>
                  <a:pt x="12" y="297"/>
                </a:lnTo>
                <a:lnTo>
                  <a:pt x="16" y="326"/>
                </a:lnTo>
                <a:lnTo>
                  <a:pt x="52" y="326"/>
                </a:lnTo>
                <a:lnTo>
                  <a:pt x="75" y="296"/>
                </a:lnTo>
                <a:lnTo>
                  <a:pt x="88" y="249"/>
                </a:lnTo>
                <a:lnTo>
                  <a:pt x="115" y="213"/>
                </a:lnTo>
                <a:lnTo>
                  <a:pt x="211" y="190"/>
                </a:lnTo>
                <a:lnTo>
                  <a:pt x="255" y="138"/>
                </a:lnTo>
                <a:lnTo>
                  <a:pt x="321" y="138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42" name="Freeform 42"/>
          <p:cNvSpPr>
            <a:spLocks noChangeAspect="1"/>
          </p:cNvSpPr>
          <p:nvPr/>
        </p:nvSpPr>
        <p:spPr bwMode="gray">
          <a:xfrm>
            <a:off x="2917833" y="4437390"/>
            <a:ext cx="377825" cy="233363"/>
          </a:xfrm>
          <a:custGeom>
            <a:avLst/>
            <a:gdLst/>
            <a:ahLst/>
            <a:cxnLst>
              <a:cxn ang="0">
                <a:pos x="305" y="119"/>
              </a:cxn>
              <a:cxn ang="0">
                <a:pos x="297" y="156"/>
              </a:cxn>
              <a:cxn ang="0">
                <a:pos x="288" y="175"/>
              </a:cxn>
              <a:cxn ang="0">
                <a:pos x="274" y="215"/>
              </a:cxn>
              <a:cxn ang="0">
                <a:pos x="211" y="185"/>
              </a:cxn>
              <a:cxn ang="0">
                <a:pos x="186" y="160"/>
              </a:cxn>
              <a:cxn ang="0">
                <a:pos x="144" y="177"/>
              </a:cxn>
              <a:cxn ang="0">
                <a:pos x="121" y="175"/>
              </a:cxn>
              <a:cxn ang="0">
                <a:pos x="121" y="169"/>
              </a:cxn>
              <a:cxn ang="0">
                <a:pos x="111" y="169"/>
              </a:cxn>
              <a:cxn ang="0">
                <a:pos x="88" y="189"/>
              </a:cxn>
              <a:cxn ang="0">
                <a:pos x="34" y="164"/>
              </a:cxn>
              <a:cxn ang="0">
                <a:pos x="11" y="177"/>
              </a:cxn>
              <a:cxn ang="0">
                <a:pos x="0" y="141"/>
              </a:cxn>
              <a:cxn ang="0">
                <a:pos x="13" y="119"/>
              </a:cxn>
              <a:cxn ang="0">
                <a:pos x="4" y="94"/>
              </a:cxn>
              <a:cxn ang="0">
                <a:pos x="23" y="77"/>
              </a:cxn>
              <a:cxn ang="0">
                <a:pos x="27" y="64"/>
              </a:cxn>
              <a:cxn ang="0">
                <a:pos x="53" y="64"/>
              </a:cxn>
              <a:cxn ang="0">
                <a:pos x="69" y="68"/>
              </a:cxn>
              <a:cxn ang="0">
                <a:pos x="78" y="60"/>
              </a:cxn>
              <a:cxn ang="0">
                <a:pos x="92" y="71"/>
              </a:cxn>
              <a:cxn ang="0">
                <a:pos x="163" y="23"/>
              </a:cxn>
              <a:cxn ang="0">
                <a:pos x="176" y="6"/>
              </a:cxn>
              <a:cxn ang="0">
                <a:pos x="203" y="0"/>
              </a:cxn>
              <a:cxn ang="0">
                <a:pos x="203" y="54"/>
              </a:cxn>
              <a:cxn ang="0">
                <a:pos x="215" y="71"/>
              </a:cxn>
              <a:cxn ang="0">
                <a:pos x="219" y="100"/>
              </a:cxn>
              <a:cxn ang="0">
                <a:pos x="255" y="100"/>
              </a:cxn>
              <a:cxn ang="0">
                <a:pos x="278" y="70"/>
              </a:cxn>
              <a:cxn ang="0">
                <a:pos x="290" y="110"/>
              </a:cxn>
              <a:cxn ang="0">
                <a:pos x="305" y="119"/>
              </a:cxn>
            </a:cxnLst>
            <a:rect l="0" t="0" r="r" b="b"/>
            <a:pathLst>
              <a:path w="305" h="215">
                <a:moveTo>
                  <a:pt x="305" y="119"/>
                </a:moveTo>
                <a:lnTo>
                  <a:pt x="297" y="156"/>
                </a:lnTo>
                <a:lnTo>
                  <a:pt x="288" y="175"/>
                </a:lnTo>
                <a:lnTo>
                  <a:pt x="274" y="215"/>
                </a:lnTo>
                <a:lnTo>
                  <a:pt x="211" y="185"/>
                </a:lnTo>
                <a:lnTo>
                  <a:pt x="186" y="160"/>
                </a:lnTo>
                <a:lnTo>
                  <a:pt x="144" y="177"/>
                </a:lnTo>
                <a:lnTo>
                  <a:pt x="121" y="175"/>
                </a:lnTo>
                <a:lnTo>
                  <a:pt x="121" y="169"/>
                </a:lnTo>
                <a:lnTo>
                  <a:pt x="111" y="169"/>
                </a:lnTo>
                <a:lnTo>
                  <a:pt x="88" y="189"/>
                </a:lnTo>
                <a:lnTo>
                  <a:pt x="34" y="164"/>
                </a:lnTo>
                <a:lnTo>
                  <a:pt x="11" y="177"/>
                </a:lnTo>
                <a:lnTo>
                  <a:pt x="0" y="141"/>
                </a:lnTo>
                <a:lnTo>
                  <a:pt x="13" y="119"/>
                </a:lnTo>
                <a:lnTo>
                  <a:pt x="4" y="94"/>
                </a:lnTo>
                <a:lnTo>
                  <a:pt x="23" y="77"/>
                </a:lnTo>
                <a:lnTo>
                  <a:pt x="27" y="64"/>
                </a:lnTo>
                <a:lnTo>
                  <a:pt x="53" y="64"/>
                </a:lnTo>
                <a:lnTo>
                  <a:pt x="69" y="68"/>
                </a:lnTo>
                <a:lnTo>
                  <a:pt x="78" y="60"/>
                </a:lnTo>
                <a:lnTo>
                  <a:pt x="92" y="71"/>
                </a:lnTo>
                <a:lnTo>
                  <a:pt x="163" y="23"/>
                </a:lnTo>
                <a:lnTo>
                  <a:pt x="176" y="6"/>
                </a:lnTo>
                <a:lnTo>
                  <a:pt x="203" y="0"/>
                </a:lnTo>
                <a:lnTo>
                  <a:pt x="203" y="54"/>
                </a:lnTo>
                <a:lnTo>
                  <a:pt x="215" y="71"/>
                </a:lnTo>
                <a:lnTo>
                  <a:pt x="219" y="100"/>
                </a:lnTo>
                <a:lnTo>
                  <a:pt x="255" y="100"/>
                </a:lnTo>
                <a:lnTo>
                  <a:pt x="278" y="70"/>
                </a:lnTo>
                <a:lnTo>
                  <a:pt x="290" y="110"/>
                </a:lnTo>
                <a:lnTo>
                  <a:pt x="305" y="119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44" name="Freeform 43"/>
          <p:cNvSpPr>
            <a:spLocks noChangeAspect="1"/>
          </p:cNvSpPr>
          <p:nvPr/>
        </p:nvSpPr>
        <p:spPr bwMode="gray">
          <a:xfrm>
            <a:off x="3300419" y="4610427"/>
            <a:ext cx="398463" cy="361951"/>
          </a:xfrm>
          <a:custGeom>
            <a:avLst/>
            <a:gdLst>
              <a:gd name="T0" fmla="*/ 2147483647 w 320"/>
              <a:gd name="T1" fmla="*/ 2147483647 h 332"/>
              <a:gd name="T2" fmla="*/ 2147483647 w 320"/>
              <a:gd name="T3" fmla="*/ 2147483647 h 332"/>
              <a:gd name="T4" fmla="*/ 2147483647 w 320"/>
              <a:gd name="T5" fmla="*/ 2147483647 h 332"/>
              <a:gd name="T6" fmla="*/ 2147483647 w 320"/>
              <a:gd name="T7" fmla="*/ 2147483647 h 332"/>
              <a:gd name="T8" fmla="*/ 2147483647 w 320"/>
              <a:gd name="T9" fmla="*/ 2147483647 h 332"/>
              <a:gd name="T10" fmla="*/ 2147483647 w 320"/>
              <a:gd name="T11" fmla="*/ 2147483647 h 332"/>
              <a:gd name="T12" fmla="*/ 2147483647 w 320"/>
              <a:gd name="T13" fmla="*/ 2147483647 h 332"/>
              <a:gd name="T14" fmla="*/ 2147483647 w 320"/>
              <a:gd name="T15" fmla="*/ 2147483647 h 332"/>
              <a:gd name="T16" fmla="*/ 2147483647 w 320"/>
              <a:gd name="T17" fmla="*/ 2147483647 h 332"/>
              <a:gd name="T18" fmla="*/ 2147483647 w 320"/>
              <a:gd name="T19" fmla="*/ 2147483647 h 332"/>
              <a:gd name="T20" fmla="*/ 2147483647 w 320"/>
              <a:gd name="T21" fmla="*/ 2147483647 h 332"/>
              <a:gd name="T22" fmla="*/ 0 w 320"/>
              <a:gd name="T23" fmla="*/ 2147483647 h 332"/>
              <a:gd name="T24" fmla="*/ 2147483647 w 320"/>
              <a:gd name="T25" fmla="*/ 2147483647 h 332"/>
              <a:gd name="T26" fmla="*/ 2147483647 w 320"/>
              <a:gd name="T27" fmla="*/ 2147483647 h 332"/>
              <a:gd name="T28" fmla="*/ 2147483647 w 320"/>
              <a:gd name="T29" fmla="*/ 2147483647 h 332"/>
              <a:gd name="T30" fmla="*/ 2147483647 w 320"/>
              <a:gd name="T31" fmla="*/ 0 h 332"/>
              <a:gd name="T32" fmla="*/ 2147483647 w 320"/>
              <a:gd name="T33" fmla="*/ 2147483647 h 332"/>
              <a:gd name="T34" fmla="*/ 2147483647 w 320"/>
              <a:gd name="T35" fmla="*/ 2147483647 h 332"/>
              <a:gd name="T36" fmla="*/ 2147483647 w 320"/>
              <a:gd name="T37" fmla="*/ 2147483647 h 332"/>
              <a:gd name="T38" fmla="*/ 2147483647 w 320"/>
              <a:gd name="T39" fmla="*/ 2147483647 h 332"/>
              <a:gd name="T40" fmla="*/ 2147483647 w 320"/>
              <a:gd name="T41" fmla="*/ 2147483647 h 332"/>
              <a:gd name="T42" fmla="*/ 2147483647 w 320"/>
              <a:gd name="T43" fmla="*/ 2147483647 h 332"/>
              <a:gd name="T44" fmla="*/ 2147483647 w 320"/>
              <a:gd name="T45" fmla="*/ 2147483647 h 332"/>
              <a:gd name="T46" fmla="*/ 2147483647 w 320"/>
              <a:gd name="T47" fmla="*/ 2147483647 h 332"/>
              <a:gd name="T48" fmla="*/ 2147483647 w 320"/>
              <a:gd name="T49" fmla="*/ 2147483647 h 332"/>
              <a:gd name="T50" fmla="*/ 2147483647 w 320"/>
              <a:gd name="T51" fmla="*/ 2147483647 h 332"/>
              <a:gd name="T52" fmla="*/ 2147483647 w 320"/>
              <a:gd name="T53" fmla="*/ 2147483647 h 332"/>
              <a:gd name="T54" fmla="*/ 2147483647 w 320"/>
              <a:gd name="T55" fmla="*/ 2147483647 h 332"/>
              <a:gd name="T56" fmla="*/ 2147483647 w 320"/>
              <a:gd name="T57" fmla="*/ 2147483647 h 332"/>
              <a:gd name="T58" fmla="*/ 2147483647 w 320"/>
              <a:gd name="T59" fmla="*/ 2147483647 h 332"/>
              <a:gd name="T60" fmla="*/ 2147483647 w 320"/>
              <a:gd name="T61" fmla="*/ 2147483647 h 332"/>
              <a:gd name="T62" fmla="*/ 2147483647 w 320"/>
              <a:gd name="T63" fmla="*/ 2147483647 h 332"/>
              <a:gd name="T64" fmla="*/ 2147483647 w 320"/>
              <a:gd name="T65" fmla="*/ 2147483647 h 332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320" h="332">
                <a:moveTo>
                  <a:pt x="82" y="332"/>
                </a:moveTo>
                <a:lnTo>
                  <a:pt x="63" y="314"/>
                </a:lnTo>
                <a:lnTo>
                  <a:pt x="36" y="314"/>
                </a:lnTo>
                <a:lnTo>
                  <a:pt x="38" y="297"/>
                </a:lnTo>
                <a:lnTo>
                  <a:pt x="25" y="288"/>
                </a:lnTo>
                <a:lnTo>
                  <a:pt x="36" y="272"/>
                </a:lnTo>
                <a:lnTo>
                  <a:pt x="27" y="245"/>
                </a:lnTo>
                <a:lnTo>
                  <a:pt x="44" y="236"/>
                </a:lnTo>
                <a:lnTo>
                  <a:pt x="38" y="222"/>
                </a:lnTo>
                <a:lnTo>
                  <a:pt x="21" y="203"/>
                </a:lnTo>
                <a:lnTo>
                  <a:pt x="23" y="180"/>
                </a:lnTo>
                <a:lnTo>
                  <a:pt x="0" y="167"/>
                </a:lnTo>
                <a:lnTo>
                  <a:pt x="55" y="121"/>
                </a:lnTo>
                <a:lnTo>
                  <a:pt x="98" y="78"/>
                </a:lnTo>
                <a:lnTo>
                  <a:pt x="107" y="38"/>
                </a:lnTo>
                <a:lnTo>
                  <a:pt x="155" y="0"/>
                </a:lnTo>
                <a:lnTo>
                  <a:pt x="186" y="48"/>
                </a:lnTo>
                <a:lnTo>
                  <a:pt x="272" y="38"/>
                </a:lnTo>
                <a:lnTo>
                  <a:pt x="290" y="21"/>
                </a:lnTo>
                <a:lnTo>
                  <a:pt x="320" y="44"/>
                </a:lnTo>
                <a:lnTo>
                  <a:pt x="314" y="75"/>
                </a:lnTo>
                <a:lnTo>
                  <a:pt x="291" y="78"/>
                </a:lnTo>
                <a:lnTo>
                  <a:pt x="249" y="90"/>
                </a:lnTo>
                <a:lnTo>
                  <a:pt x="224" y="94"/>
                </a:lnTo>
                <a:lnTo>
                  <a:pt x="192" y="136"/>
                </a:lnTo>
                <a:lnTo>
                  <a:pt x="174" y="167"/>
                </a:lnTo>
                <a:lnTo>
                  <a:pt x="136" y="182"/>
                </a:lnTo>
                <a:lnTo>
                  <a:pt x="132" y="224"/>
                </a:lnTo>
                <a:lnTo>
                  <a:pt x="100" y="261"/>
                </a:lnTo>
                <a:lnTo>
                  <a:pt x="92" y="261"/>
                </a:lnTo>
                <a:lnTo>
                  <a:pt x="82" y="265"/>
                </a:lnTo>
                <a:lnTo>
                  <a:pt x="86" y="312"/>
                </a:lnTo>
                <a:lnTo>
                  <a:pt x="82" y="332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45" name="Freeform 44"/>
          <p:cNvSpPr>
            <a:spLocks noChangeAspect="1"/>
          </p:cNvSpPr>
          <p:nvPr/>
        </p:nvSpPr>
        <p:spPr bwMode="gray">
          <a:xfrm>
            <a:off x="3662368" y="4545335"/>
            <a:ext cx="247651" cy="114300"/>
          </a:xfrm>
          <a:custGeom>
            <a:avLst/>
            <a:gdLst>
              <a:gd name="T0" fmla="*/ 2147483647 w 199"/>
              <a:gd name="T1" fmla="*/ 2147483647 h 106"/>
              <a:gd name="T2" fmla="*/ 2147483647 w 199"/>
              <a:gd name="T3" fmla="*/ 2147483647 h 106"/>
              <a:gd name="T4" fmla="*/ 2147483647 w 199"/>
              <a:gd name="T5" fmla="*/ 2147483647 h 106"/>
              <a:gd name="T6" fmla="*/ 2147483647 w 199"/>
              <a:gd name="T7" fmla="*/ 2147483647 h 106"/>
              <a:gd name="T8" fmla="*/ 2147483647 w 199"/>
              <a:gd name="T9" fmla="*/ 2147483647 h 106"/>
              <a:gd name="T10" fmla="*/ 2147483647 w 199"/>
              <a:gd name="T11" fmla="*/ 2147483647 h 106"/>
              <a:gd name="T12" fmla="*/ 2147483647 w 199"/>
              <a:gd name="T13" fmla="*/ 2147483647 h 106"/>
              <a:gd name="T14" fmla="*/ 0 w 199"/>
              <a:gd name="T15" fmla="*/ 2147483647 h 106"/>
              <a:gd name="T16" fmla="*/ 2147483647 w 199"/>
              <a:gd name="T17" fmla="*/ 2147483647 h 106"/>
              <a:gd name="T18" fmla="*/ 2147483647 w 199"/>
              <a:gd name="T19" fmla="*/ 2147483647 h 106"/>
              <a:gd name="T20" fmla="*/ 2147483647 w 199"/>
              <a:gd name="T21" fmla="*/ 2147483647 h 106"/>
              <a:gd name="T22" fmla="*/ 2147483647 w 199"/>
              <a:gd name="T23" fmla="*/ 0 h 106"/>
              <a:gd name="T24" fmla="*/ 2147483647 w 199"/>
              <a:gd name="T25" fmla="*/ 2147483647 h 106"/>
              <a:gd name="T26" fmla="*/ 2147483647 w 199"/>
              <a:gd name="T27" fmla="*/ 2147483647 h 106"/>
              <a:gd name="T28" fmla="*/ 2147483647 w 199"/>
              <a:gd name="T29" fmla="*/ 2147483647 h 106"/>
              <a:gd name="T30" fmla="*/ 2147483647 w 199"/>
              <a:gd name="T31" fmla="*/ 2147483647 h 10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199" h="106">
                <a:moveTo>
                  <a:pt x="199" y="50"/>
                </a:moveTo>
                <a:lnTo>
                  <a:pt x="199" y="56"/>
                </a:lnTo>
                <a:lnTo>
                  <a:pt x="153" y="66"/>
                </a:lnTo>
                <a:lnTo>
                  <a:pt x="132" y="67"/>
                </a:lnTo>
                <a:lnTo>
                  <a:pt x="109" y="83"/>
                </a:lnTo>
                <a:lnTo>
                  <a:pt x="78" y="77"/>
                </a:lnTo>
                <a:lnTo>
                  <a:pt x="30" y="106"/>
                </a:lnTo>
                <a:lnTo>
                  <a:pt x="0" y="83"/>
                </a:lnTo>
                <a:lnTo>
                  <a:pt x="9" y="71"/>
                </a:lnTo>
                <a:lnTo>
                  <a:pt x="9" y="35"/>
                </a:lnTo>
                <a:lnTo>
                  <a:pt x="49" y="23"/>
                </a:lnTo>
                <a:lnTo>
                  <a:pt x="72" y="0"/>
                </a:lnTo>
                <a:lnTo>
                  <a:pt x="113" y="16"/>
                </a:lnTo>
                <a:lnTo>
                  <a:pt x="140" y="10"/>
                </a:lnTo>
                <a:lnTo>
                  <a:pt x="168" y="35"/>
                </a:lnTo>
                <a:lnTo>
                  <a:pt x="199" y="50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45" name="Freeform 45"/>
          <p:cNvSpPr>
            <a:spLocks noChangeAspect="1"/>
          </p:cNvSpPr>
          <p:nvPr/>
        </p:nvSpPr>
        <p:spPr bwMode="gray">
          <a:xfrm>
            <a:off x="3694119" y="4589785"/>
            <a:ext cx="271463" cy="203200"/>
          </a:xfrm>
          <a:custGeom>
            <a:avLst/>
            <a:gdLst/>
            <a:ahLst/>
            <a:cxnLst>
              <a:cxn ang="0">
                <a:pos x="175" y="7"/>
              </a:cxn>
              <a:cxn ang="0">
                <a:pos x="196" y="0"/>
              </a:cxn>
              <a:cxn ang="0">
                <a:pos x="200" y="9"/>
              </a:cxn>
              <a:cxn ang="0">
                <a:pos x="187" y="44"/>
              </a:cxn>
              <a:cxn ang="0">
                <a:pos x="221" y="105"/>
              </a:cxn>
              <a:cxn ang="0">
                <a:pos x="127" y="184"/>
              </a:cxn>
              <a:cxn ang="0">
                <a:pos x="96" y="149"/>
              </a:cxn>
              <a:cxn ang="0">
                <a:pos x="77" y="109"/>
              </a:cxn>
              <a:cxn ang="0">
                <a:pos x="56" y="118"/>
              </a:cxn>
              <a:cxn ang="0">
                <a:pos x="0" y="94"/>
              </a:cxn>
              <a:cxn ang="0">
                <a:pos x="6" y="63"/>
              </a:cxn>
              <a:cxn ang="0">
                <a:pos x="54" y="34"/>
              </a:cxn>
              <a:cxn ang="0">
                <a:pos x="85" y="40"/>
              </a:cxn>
              <a:cxn ang="0">
                <a:pos x="108" y="24"/>
              </a:cxn>
              <a:cxn ang="0">
                <a:pos x="129" y="23"/>
              </a:cxn>
              <a:cxn ang="0">
                <a:pos x="175" y="13"/>
              </a:cxn>
              <a:cxn ang="0">
                <a:pos x="175" y="7"/>
              </a:cxn>
            </a:cxnLst>
            <a:rect l="0" t="0" r="r" b="b"/>
            <a:pathLst>
              <a:path w="221" h="184">
                <a:moveTo>
                  <a:pt x="175" y="7"/>
                </a:moveTo>
                <a:lnTo>
                  <a:pt x="196" y="0"/>
                </a:lnTo>
                <a:lnTo>
                  <a:pt x="200" y="9"/>
                </a:lnTo>
                <a:lnTo>
                  <a:pt x="187" y="44"/>
                </a:lnTo>
                <a:lnTo>
                  <a:pt x="221" y="105"/>
                </a:lnTo>
                <a:lnTo>
                  <a:pt x="127" y="184"/>
                </a:lnTo>
                <a:lnTo>
                  <a:pt x="96" y="149"/>
                </a:lnTo>
                <a:lnTo>
                  <a:pt x="77" y="109"/>
                </a:lnTo>
                <a:lnTo>
                  <a:pt x="56" y="118"/>
                </a:lnTo>
                <a:lnTo>
                  <a:pt x="0" y="94"/>
                </a:lnTo>
                <a:lnTo>
                  <a:pt x="6" y="63"/>
                </a:lnTo>
                <a:lnTo>
                  <a:pt x="54" y="34"/>
                </a:lnTo>
                <a:lnTo>
                  <a:pt x="85" y="40"/>
                </a:lnTo>
                <a:lnTo>
                  <a:pt x="108" y="24"/>
                </a:lnTo>
                <a:lnTo>
                  <a:pt x="129" y="23"/>
                </a:lnTo>
                <a:lnTo>
                  <a:pt x="175" y="13"/>
                </a:lnTo>
                <a:lnTo>
                  <a:pt x="175" y="7"/>
                </a:lnTo>
                <a:close/>
              </a:path>
            </a:pathLst>
          </a:custGeom>
          <a:solidFill>
            <a:schemeClr val="accent3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47" name="Freeform 46"/>
          <p:cNvSpPr>
            <a:spLocks noChangeAspect="1"/>
          </p:cNvSpPr>
          <p:nvPr/>
        </p:nvSpPr>
        <p:spPr bwMode="gray">
          <a:xfrm>
            <a:off x="3386146" y="4692978"/>
            <a:ext cx="465137" cy="325439"/>
          </a:xfrm>
          <a:custGeom>
            <a:avLst/>
            <a:gdLst>
              <a:gd name="T0" fmla="*/ 2147483647 w 372"/>
              <a:gd name="T1" fmla="*/ 2147483647 h 299"/>
              <a:gd name="T2" fmla="*/ 0 w 372"/>
              <a:gd name="T3" fmla="*/ 2147483647 h 299"/>
              <a:gd name="T4" fmla="*/ 0 w 372"/>
              <a:gd name="T5" fmla="*/ 2147483647 h 299"/>
              <a:gd name="T6" fmla="*/ 2147483647 w 372"/>
              <a:gd name="T7" fmla="*/ 2147483647 h 299"/>
              <a:gd name="T8" fmla="*/ 2147483647 w 372"/>
              <a:gd name="T9" fmla="*/ 2147483647 h 299"/>
              <a:gd name="T10" fmla="*/ 2147483647 w 372"/>
              <a:gd name="T11" fmla="*/ 2147483647 h 299"/>
              <a:gd name="T12" fmla="*/ 2147483647 w 372"/>
              <a:gd name="T13" fmla="*/ 2147483647 h 299"/>
              <a:gd name="T14" fmla="*/ 2147483647 w 372"/>
              <a:gd name="T15" fmla="*/ 2147483647 h 299"/>
              <a:gd name="T16" fmla="*/ 2147483647 w 372"/>
              <a:gd name="T17" fmla="*/ 2147483647 h 299"/>
              <a:gd name="T18" fmla="*/ 2147483647 w 372"/>
              <a:gd name="T19" fmla="*/ 2147483647 h 299"/>
              <a:gd name="T20" fmla="*/ 2147483647 w 372"/>
              <a:gd name="T21" fmla="*/ 2147483647 h 299"/>
              <a:gd name="T22" fmla="*/ 2147483647 w 372"/>
              <a:gd name="T23" fmla="*/ 2147483647 h 299"/>
              <a:gd name="T24" fmla="*/ 2147483647 w 372"/>
              <a:gd name="T25" fmla="*/ 2147483647 h 299"/>
              <a:gd name="T26" fmla="*/ 2147483647 w 372"/>
              <a:gd name="T27" fmla="*/ 2147483647 h 299"/>
              <a:gd name="T28" fmla="*/ 2147483647 w 372"/>
              <a:gd name="T29" fmla="*/ 2147483647 h 299"/>
              <a:gd name="T30" fmla="*/ 2147483647 w 372"/>
              <a:gd name="T31" fmla="*/ 2147483647 h 299"/>
              <a:gd name="T32" fmla="*/ 2147483647 w 372"/>
              <a:gd name="T33" fmla="*/ 2147483647 h 299"/>
              <a:gd name="T34" fmla="*/ 2147483647 w 372"/>
              <a:gd name="T35" fmla="*/ 2147483647 h 299"/>
              <a:gd name="T36" fmla="*/ 2147483647 w 372"/>
              <a:gd name="T37" fmla="*/ 2147483647 h 299"/>
              <a:gd name="T38" fmla="*/ 2147483647 w 372"/>
              <a:gd name="T39" fmla="*/ 2147483647 h 299"/>
              <a:gd name="T40" fmla="*/ 2147483647 w 372"/>
              <a:gd name="T41" fmla="*/ 0 h 299"/>
              <a:gd name="T42" fmla="*/ 2147483647 w 372"/>
              <a:gd name="T43" fmla="*/ 2147483647 h 299"/>
              <a:gd name="T44" fmla="*/ 2147483647 w 372"/>
              <a:gd name="T45" fmla="*/ 2147483647 h 299"/>
              <a:gd name="T46" fmla="*/ 2147483647 w 372"/>
              <a:gd name="T47" fmla="*/ 2147483647 h 299"/>
              <a:gd name="T48" fmla="*/ 2147483647 w 372"/>
              <a:gd name="T49" fmla="*/ 2147483647 h 299"/>
              <a:gd name="T50" fmla="*/ 2147483647 w 372"/>
              <a:gd name="T51" fmla="*/ 2147483647 h 299"/>
              <a:gd name="T52" fmla="*/ 2147483647 w 372"/>
              <a:gd name="T53" fmla="*/ 2147483647 h 299"/>
              <a:gd name="T54" fmla="*/ 2147483647 w 372"/>
              <a:gd name="T55" fmla="*/ 2147483647 h 299"/>
              <a:gd name="T56" fmla="*/ 2147483647 w 372"/>
              <a:gd name="T57" fmla="*/ 2147483647 h 299"/>
              <a:gd name="T58" fmla="*/ 2147483647 w 372"/>
              <a:gd name="T59" fmla="*/ 2147483647 h 299"/>
              <a:gd name="T60" fmla="*/ 2147483647 w 372"/>
              <a:gd name="T61" fmla="*/ 2147483647 h 299"/>
              <a:gd name="T62" fmla="*/ 2147483647 w 372"/>
              <a:gd name="T63" fmla="*/ 2147483647 h 299"/>
              <a:gd name="T64" fmla="*/ 2147483647 w 372"/>
              <a:gd name="T65" fmla="*/ 2147483647 h 299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372" h="299">
                <a:moveTo>
                  <a:pt x="13" y="257"/>
                </a:moveTo>
                <a:lnTo>
                  <a:pt x="0" y="268"/>
                </a:lnTo>
                <a:lnTo>
                  <a:pt x="0" y="284"/>
                </a:lnTo>
                <a:lnTo>
                  <a:pt x="36" y="295"/>
                </a:lnTo>
                <a:lnTo>
                  <a:pt x="55" y="284"/>
                </a:lnTo>
                <a:lnTo>
                  <a:pt x="79" y="299"/>
                </a:lnTo>
                <a:lnTo>
                  <a:pt x="84" y="295"/>
                </a:lnTo>
                <a:lnTo>
                  <a:pt x="75" y="264"/>
                </a:lnTo>
                <a:lnTo>
                  <a:pt x="94" y="216"/>
                </a:lnTo>
                <a:lnTo>
                  <a:pt x="105" y="213"/>
                </a:lnTo>
                <a:lnTo>
                  <a:pt x="159" y="126"/>
                </a:lnTo>
                <a:lnTo>
                  <a:pt x="180" y="117"/>
                </a:lnTo>
                <a:lnTo>
                  <a:pt x="205" y="97"/>
                </a:lnTo>
                <a:lnTo>
                  <a:pt x="270" y="97"/>
                </a:lnTo>
                <a:lnTo>
                  <a:pt x="334" y="157"/>
                </a:lnTo>
                <a:lnTo>
                  <a:pt x="347" y="157"/>
                </a:lnTo>
                <a:lnTo>
                  <a:pt x="372" y="90"/>
                </a:lnTo>
                <a:lnTo>
                  <a:pt x="341" y="55"/>
                </a:lnTo>
                <a:lnTo>
                  <a:pt x="322" y="15"/>
                </a:lnTo>
                <a:lnTo>
                  <a:pt x="301" y="24"/>
                </a:lnTo>
                <a:lnTo>
                  <a:pt x="245" y="0"/>
                </a:lnTo>
                <a:lnTo>
                  <a:pt x="222" y="3"/>
                </a:lnTo>
                <a:lnTo>
                  <a:pt x="180" y="15"/>
                </a:lnTo>
                <a:lnTo>
                  <a:pt x="155" y="19"/>
                </a:lnTo>
                <a:lnTo>
                  <a:pt x="123" y="61"/>
                </a:lnTo>
                <a:lnTo>
                  <a:pt x="105" y="92"/>
                </a:lnTo>
                <a:lnTo>
                  <a:pt x="67" y="107"/>
                </a:lnTo>
                <a:lnTo>
                  <a:pt x="63" y="149"/>
                </a:lnTo>
                <a:lnTo>
                  <a:pt x="31" y="186"/>
                </a:lnTo>
                <a:lnTo>
                  <a:pt x="23" y="186"/>
                </a:lnTo>
                <a:lnTo>
                  <a:pt x="13" y="190"/>
                </a:lnTo>
                <a:lnTo>
                  <a:pt x="17" y="237"/>
                </a:lnTo>
                <a:lnTo>
                  <a:pt x="13" y="257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47" name="Freeform 47"/>
          <p:cNvSpPr>
            <a:spLocks noChangeAspect="1"/>
          </p:cNvSpPr>
          <p:nvPr/>
        </p:nvSpPr>
        <p:spPr bwMode="gray">
          <a:xfrm>
            <a:off x="2695583" y="4642177"/>
            <a:ext cx="322263" cy="273051"/>
          </a:xfrm>
          <a:custGeom>
            <a:avLst/>
            <a:gdLst/>
            <a:ahLst/>
            <a:cxnLst>
              <a:cxn ang="0">
                <a:pos x="67" y="247"/>
              </a:cxn>
              <a:cxn ang="0">
                <a:pos x="58" y="214"/>
              </a:cxn>
              <a:cxn ang="0">
                <a:pos x="71" y="188"/>
              </a:cxn>
              <a:cxn ang="0">
                <a:pos x="110" y="157"/>
              </a:cxn>
              <a:cxn ang="0">
                <a:pos x="100" y="136"/>
              </a:cxn>
              <a:cxn ang="0">
                <a:pos x="79" y="138"/>
              </a:cxn>
              <a:cxn ang="0">
                <a:pos x="52" y="118"/>
              </a:cxn>
              <a:cxn ang="0">
                <a:pos x="0" y="107"/>
              </a:cxn>
              <a:cxn ang="0">
                <a:pos x="8" y="90"/>
              </a:cxn>
              <a:cxn ang="0">
                <a:pos x="2" y="86"/>
              </a:cxn>
              <a:cxn ang="0">
                <a:pos x="21" y="69"/>
              </a:cxn>
              <a:cxn ang="0">
                <a:pos x="50" y="86"/>
              </a:cxn>
              <a:cxn ang="0">
                <a:pos x="69" y="80"/>
              </a:cxn>
              <a:cxn ang="0">
                <a:pos x="79" y="69"/>
              </a:cxn>
              <a:cxn ang="0">
                <a:pos x="79" y="47"/>
              </a:cxn>
              <a:cxn ang="0">
                <a:pos x="134" y="0"/>
              </a:cxn>
              <a:cxn ang="0">
                <a:pos x="198" y="11"/>
              </a:cxn>
              <a:cxn ang="0">
                <a:pos x="204" y="46"/>
              </a:cxn>
              <a:cxn ang="0">
                <a:pos x="221" y="82"/>
              </a:cxn>
              <a:cxn ang="0">
                <a:pos x="259" y="97"/>
              </a:cxn>
              <a:cxn ang="0">
                <a:pos x="240" y="120"/>
              </a:cxn>
              <a:cxn ang="0">
                <a:pos x="209" y="120"/>
              </a:cxn>
              <a:cxn ang="0">
                <a:pos x="177" y="163"/>
              </a:cxn>
              <a:cxn ang="0">
                <a:pos x="177" y="232"/>
              </a:cxn>
              <a:cxn ang="0">
                <a:pos x="144" y="212"/>
              </a:cxn>
              <a:cxn ang="0">
                <a:pos x="111" y="224"/>
              </a:cxn>
              <a:cxn ang="0">
                <a:pos x="77" y="249"/>
              </a:cxn>
              <a:cxn ang="0">
                <a:pos x="67" y="247"/>
              </a:cxn>
            </a:cxnLst>
            <a:rect l="0" t="0" r="r" b="b"/>
            <a:pathLst>
              <a:path w="259" h="249">
                <a:moveTo>
                  <a:pt x="67" y="247"/>
                </a:moveTo>
                <a:lnTo>
                  <a:pt x="58" y="214"/>
                </a:lnTo>
                <a:lnTo>
                  <a:pt x="71" y="188"/>
                </a:lnTo>
                <a:lnTo>
                  <a:pt x="110" y="157"/>
                </a:lnTo>
                <a:lnTo>
                  <a:pt x="100" y="136"/>
                </a:lnTo>
                <a:lnTo>
                  <a:pt x="79" y="138"/>
                </a:lnTo>
                <a:lnTo>
                  <a:pt x="52" y="118"/>
                </a:lnTo>
                <a:lnTo>
                  <a:pt x="0" y="107"/>
                </a:lnTo>
                <a:lnTo>
                  <a:pt x="8" y="90"/>
                </a:lnTo>
                <a:lnTo>
                  <a:pt x="2" y="86"/>
                </a:lnTo>
                <a:lnTo>
                  <a:pt x="21" y="69"/>
                </a:lnTo>
                <a:lnTo>
                  <a:pt x="50" y="86"/>
                </a:lnTo>
                <a:lnTo>
                  <a:pt x="69" y="80"/>
                </a:lnTo>
                <a:lnTo>
                  <a:pt x="79" y="69"/>
                </a:lnTo>
                <a:lnTo>
                  <a:pt x="79" y="47"/>
                </a:lnTo>
                <a:lnTo>
                  <a:pt x="134" y="0"/>
                </a:lnTo>
                <a:lnTo>
                  <a:pt x="198" y="11"/>
                </a:lnTo>
                <a:lnTo>
                  <a:pt x="204" y="46"/>
                </a:lnTo>
                <a:lnTo>
                  <a:pt x="221" y="82"/>
                </a:lnTo>
                <a:lnTo>
                  <a:pt x="259" y="97"/>
                </a:lnTo>
                <a:lnTo>
                  <a:pt x="240" y="120"/>
                </a:lnTo>
                <a:lnTo>
                  <a:pt x="209" y="120"/>
                </a:lnTo>
                <a:lnTo>
                  <a:pt x="177" y="163"/>
                </a:lnTo>
                <a:lnTo>
                  <a:pt x="177" y="232"/>
                </a:lnTo>
                <a:lnTo>
                  <a:pt x="144" y="212"/>
                </a:lnTo>
                <a:lnTo>
                  <a:pt x="111" y="224"/>
                </a:lnTo>
                <a:lnTo>
                  <a:pt x="77" y="249"/>
                </a:lnTo>
                <a:lnTo>
                  <a:pt x="67" y="24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48" name="Freeform 48"/>
          <p:cNvSpPr>
            <a:spLocks noChangeAspect="1"/>
          </p:cNvSpPr>
          <p:nvPr/>
        </p:nvSpPr>
        <p:spPr bwMode="gray">
          <a:xfrm>
            <a:off x="2613032" y="4750129"/>
            <a:ext cx="219075" cy="168275"/>
          </a:xfrm>
          <a:custGeom>
            <a:avLst/>
            <a:gdLst/>
            <a:ahLst/>
            <a:cxnLst>
              <a:cxn ang="0">
                <a:pos x="125" y="117"/>
              </a:cxn>
              <a:cxn ang="0">
                <a:pos x="138" y="91"/>
              </a:cxn>
              <a:cxn ang="0">
                <a:pos x="177" y="60"/>
              </a:cxn>
              <a:cxn ang="0">
                <a:pos x="167" y="39"/>
              </a:cxn>
              <a:cxn ang="0">
                <a:pos x="146" y="41"/>
              </a:cxn>
              <a:cxn ang="0">
                <a:pos x="119" y="21"/>
              </a:cxn>
              <a:cxn ang="0">
                <a:pos x="67" y="10"/>
              </a:cxn>
              <a:cxn ang="0">
                <a:pos x="63" y="10"/>
              </a:cxn>
              <a:cxn ang="0">
                <a:pos x="17" y="0"/>
              </a:cxn>
              <a:cxn ang="0">
                <a:pos x="0" y="10"/>
              </a:cxn>
              <a:cxn ang="0">
                <a:pos x="11" y="41"/>
              </a:cxn>
              <a:cxn ang="0">
                <a:pos x="4" y="54"/>
              </a:cxn>
              <a:cxn ang="0">
                <a:pos x="10" y="87"/>
              </a:cxn>
              <a:cxn ang="0">
                <a:pos x="40" y="106"/>
              </a:cxn>
              <a:cxn ang="0">
                <a:pos x="44" y="135"/>
              </a:cxn>
              <a:cxn ang="0">
                <a:pos x="75" y="156"/>
              </a:cxn>
              <a:cxn ang="0">
                <a:pos x="79" y="140"/>
              </a:cxn>
              <a:cxn ang="0">
                <a:pos x="67" y="115"/>
              </a:cxn>
              <a:cxn ang="0">
                <a:pos x="75" y="104"/>
              </a:cxn>
              <a:cxn ang="0">
                <a:pos x="94" y="96"/>
              </a:cxn>
              <a:cxn ang="0">
                <a:pos x="125" y="117"/>
              </a:cxn>
            </a:cxnLst>
            <a:rect l="0" t="0" r="r" b="b"/>
            <a:pathLst>
              <a:path w="177" h="156">
                <a:moveTo>
                  <a:pt x="125" y="117"/>
                </a:moveTo>
                <a:lnTo>
                  <a:pt x="138" y="91"/>
                </a:lnTo>
                <a:lnTo>
                  <a:pt x="177" y="60"/>
                </a:lnTo>
                <a:lnTo>
                  <a:pt x="167" y="39"/>
                </a:lnTo>
                <a:lnTo>
                  <a:pt x="146" y="41"/>
                </a:lnTo>
                <a:lnTo>
                  <a:pt x="119" y="21"/>
                </a:lnTo>
                <a:lnTo>
                  <a:pt x="67" y="10"/>
                </a:lnTo>
                <a:lnTo>
                  <a:pt x="63" y="10"/>
                </a:lnTo>
                <a:lnTo>
                  <a:pt x="17" y="0"/>
                </a:lnTo>
                <a:lnTo>
                  <a:pt x="0" y="10"/>
                </a:lnTo>
                <a:lnTo>
                  <a:pt x="11" y="41"/>
                </a:lnTo>
                <a:lnTo>
                  <a:pt x="4" y="54"/>
                </a:lnTo>
                <a:lnTo>
                  <a:pt x="10" y="87"/>
                </a:lnTo>
                <a:lnTo>
                  <a:pt x="40" y="106"/>
                </a:lnTo>
                <a:lnTo>
                  <a:pt x="44" y="135"/>
                </a:lnTo>
                <a:lnTo>
                  <a:pt x="75" y="156"/>
                </a:lnTo>
                <a:lnTo>
                  <a:pt x="79" y="140"/>
                </a:lnTo>
                <a:lnTo>
                  <a:pt x="67" y="115"/>
                </a:lnTo>
                <a:lnTo>
                  <a:pt x="75" y="104"/>
                </a:lnTo>
                <a:lnTo>
                  <a:pt x="94" y="96"/>
                </a:lnTo>
                <a:lnTo>
                  <a:pt x="125" y="11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49" name="Freeform 49"/>
          <p:cNvSpPr>
            <a:spLocks noChangeAspect="1"/>
          </p:cNvSpPr>
          <p:nvPr/>
        </p:nvSpPr>
        <p:spPr bwMode="gray">
          <a:xfrm>
            <a:off x="2549532" y="4802511"/>
            <a:ext cx="207963" cy="214312"/>
          </a:xfrm>
          <a:custGeom>
            <a:avLst/>
            <a:gdLst/>
            <a:ahLst/>
            <a:cxnLst>
              <a:cxn ang="0">
                <a:pos x="127" y="108"/>
              </a:cxn>
              <a:cxn ang="0">
                <a:pos x="96" y="87"/>
              </a:cxn>
              <a:cxn ang="0">
                <a:pos x="92" y="58"/>
              </a:cxn>
              <a:cxn ang="0">
                <a:pos x="62" y="39"/>
              </a:cxn>
              <a:cxn ang="0">
                <a:pos x="56" y="6"/>
              </a:cxn>
              <a:cxn ang="0">
                <a:pos x="4" y="0"/>
              </a:cxn>
              <a:cxn ang="0">
                <a:pos x="0" y="20"/>
              </a:cxn>
              <a:cxn ang="0">
                <a:pos x="33" y="58"/>
              </a:cxn>
              <a:cxn ang="0">
                <a:pos x="62" y="77"/>
              </a:cxn>
              <a:cxn ang="0">
                <a:pos x="81" y="129"/>
              </a:cxn>
              <a:cxn ang="0">
                <a:pos x="56" y="133"/>
              </a:cxn>
              <a:cxn ang="0">
                <a:pos x="52" y="148"/>
              </a:cxn>
              <a:cxn ang="0">
                <a:pos x="46" y="185"/>
              </a:cxn>
              <a:cxn ang="0">
                <a:pos x="81" y="152"/>
              </a:cxn>
              <a:cxn ang="0">
                <a:pos x="111" y="150"/>
              </a:cxn>
              <a:cxn ang="0">
                <a:pos x="121" y="160"/>
              </a:cxn>
              <a:cxn ang="0">
                <a:pos x="117" y="173"/>
              </a:cxn>
              <a:cxn ang="0">
                <a:pos x="117" y="194"/>
              </a:cxn>
              <a:cxn ang="0">
                <a:pos x="136" y="198"/>
              </a:cxn>
              <a:cxn ang="0">
                <a:pos x="152" y="183"/>
              </a:cxn>
              <a:cxn ang="0">
                <a:pos x="167" y="148"/>
              </a:cxn>
              <a:cxn ang="0">
                <a:pos x="159" y="131"/>
              </a:cxn>
              <a:cxn ang="0">
                <a:pos x="129" y="131"/>
              </a:cxn>
              <a:cxn ang="0">
                <a:pos x="119" y="127"/>
              </a:cxn>
              <a:cxn ang="0">
                <a:pos x="127" y="108"/>
              </a:cxn>
            </a:cxnLst>
            <a:rect l="0" t="0" r="r" b="b"/>
            <a:pathLst>
              <a:path w="167" h="198">
                <a:moveTo>
                  <a:pt x="127" y="108"/>
                </a:moveTo>
                <a:lnTo>
                  <a:pt x="96" y="87"/>
                </a:lnTo>
                <a:lnTo>
                  <a:pt x="92" y="58"/>
                </a:lnTo>
                <a:lnTo>
                  <a:pt x="62" y="39"/>
                </a:lnTo>
                <a:lnTo>
                  <a:pt x="56" y="6"/>
                </a:lnTo>
                <a:lnTo>
                  <a:pt x="4" y="0"/>
                </a:lnTo>
                <a:lnTo>
                  <a:pt x="0" y="20"/>
                </a:lnTo>
                <a:lnTo>
                  <a:pt x="33" y="58"/>
                </a:lnTo>
                <a:lnTo>
                  <a:pt x="62" y="77"/>
                </a:lnTo>
                <a:lnTo>
                  <a:pt x="81" y="129"/>
                </a:lnTo>
                <a:lnTo>
                  <a:pt x="56" y="133"/>
                </a:lnTo>
                <a:lnTo>
                  <a:pt x="52" y="148"/>
                </a:lnTo>
                <a:lnTo>
                  <a:pt x="46" y="185"/>
                </a:lnTo>
                <a:lnTo>
                  <a:pt x="81" y="152"/>
                </a:lnTo>
                <a:lnTo>
                  <a:pt x="111" y="150"/>
                </a:lnTo>
                <a:lnTo>
                  <a:pt x="121" y="160"/>
                </a:lnTo>
                <a:lnTo>
                  <a:pt x="117" y="173"/>
                </a:lnTo>
                <a:lnTo>
                  <a:pt x="117" y="194"/>
                </a:lnTo>
                <a:lnTo>
                  <a:pt x="136" y="198"/>
                </a:lnTo>
                <a:lnTo>
                  <a:pt x="152" y="183"/>
                </a:lnTo>
                <a:lnTo>
                  <a:pt x="167" y="148"/>
                </a:lnTo>
                <a:lnTo>
                  <a:pt x="159" y="131"/>
                </a:lnTo>
                <a:lnTo>
                  <a:pt x="129" y="131"/>
                </a:lnTo>
                <a:lnTo>
                  <a:pt x="119" y="127"/>
                </a:lnTo>
                <a:lnTo>
                  <a:pt x="127" y="10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51" name="Freeform 50"/>
          <p:cNvSpPr>
            <a:spLocks noChangeAspect="1"/>
          </p:cNvSpPr>
          <p:nvPr/>
        </p:nvSpPr>
        <p:spPr bwMode="gray">
          <a:xfrm>
            <a:off x="2917826" y="4727905"/>
            <a:ext cx="292100" cy="276225"/>
          </a:xfrm>
          <a:custGeom>
            <a:avLst/>
            <a:gdLst>
              <a:gd name="T0" fmla="*/ 2147483647 w 234"/>
              <a:gd name="T1" fmla="*/ 2147483647 h 252"/>
              <a:gd name="T2" fmla="*/ 2147483647 w 234"/>
              <a:gd name="T3" fmla="*/ 2147483647 h 252"/>
              <a:gd name="T4" fmla="*/ 2147483647 w 234"/>
              <a:gd name="T5" fmla="*/ 2147483647 h 252"/>
              <a:gd name="T6" fmla="*/ 2147483647 w 234"/>
              <a:gd name="T7" fmla="*/ 2147483647 h 252"/>
              <a:gd name="T8" fmla="*/ 2147483647 w 234"/>
              <a:gd name="T9" fmla="*/ 2147483647 h 252"/>
              <a:gd name="T10" fmla="*/ 2147483647 w 234"/>
              <a:gd name="T11" fmla="*/ 2147483647 h 252"/>
              <a:gd name="T12" fmla="*/ 2147483647 w 234"/>
              <a:gd name="T13" fmla="*/ 2147483647 h 252"/>
              <a:gd name="T14" fmla="*/ 2147483647 w 234"/>
              <a:gd name="T15" fmla="*/ 2147483647 h 252"/>
              <a:gd name="T16" fmla="*/ 2147483647 w 234"/>
              <a:gd name="T17" fmla="*/ 2147483647 h 252"/>
              <a:gd name="T18" fmla="*/ 2147483647 w 234"/>
              <a:gd name="T19" fmla="*/ 2147483647 h 252"/>
              <a:gd name="T20" fmla="*/ 2147483647 w 234"/>
              <a:gd name="T21" fmla="*/ 2147483647 h 252"/>
              <a:gd name="T22" fmla="*/ 2147483647 w 234"/>
              <a:gd name="T23" fmla="*/ 2147483647 h 252"/>
              <a:gd name="T24" fmla="*/ 2147483647 w 234"/>
              <a:gd name="T25" fmla="*/ 0 h 252"/>
              <a:gd name="T26" fmla="*/ 2147483647 w 234"/>
              <a:gd name="T27" fmla="*/ 2147483647 h 252"/>
              <a:gd name="T28" fmla="*/ 2147483647 w 234"/>
              <a:gd name="T29" fmla="*/ 2147483647 h 252"/>
              <a:gd name="T30" fmla="*/ 2147483647 w 234"/>
              <a:gd name="T31" fmla="*/ 2147483647 h 252"/>
              <a:gd name="T32" fmla="*/ 2147483647 w 234"/>
              <a:gd name="T33" fmla="*/ 2147483647 h 252"/>
              <a:gd name="T34" fmla="*/ 0 w 234"/>
              <a:gd name="T35" fmla="*/ 2147483647 h 252"/>
              <a:gd name="T36" fmla="*/ 0 w 234"/>
              <a:gd name="T37" fmla="*/ 2147483647 h 252"/>
              <a:gd name="T38" fmla="*/ 2147483647 w 234"/>
              <a:gd name="T39" fmla="*/ 2147483647 h 252"/>
              <a:gd name="T40" fmla="*/ 2147483647 w 234"/>
              <a:gd name="T41" fmla="*/ 2147483647 h 252"/>
              <a:gd name="T42" fmla="*/ 2147483647 w 234"/>
              <a:gd name="T43" fmla="*/ 2147483647 h 252"/>
              <a:gd name="T44" fmla="*/ 2147483647 w 234"/>
              <a:gd name="T45" fmla="*/ 2147483647 h 252"/>
              <a:gd name="T46" fmla="*/ 2147483647 w 234"/>
              <a:gd name="T47" fmla="*/ 2147483647 h 252"/>
              <a:gd name="T48" fmla="*/ 2147483647 w 234"/>
              <a:gd name="T49" fmla="*/ 2147483647 h 252"/>
              <a:gd name="T50" fmla="*/ 2147483647 w 234"/>
              <a:gd name="T51" fmla="*/ 2147483647 h 252"/>
              <a:gd name="T52" fmla="*/ 2147483647 w 234"/>
              <a:gd name="T53" fmla="*/ 2147483647 h 252"/>
              <a:gd name="T54" fmla="*/ 2147483647 w 234"/>
              <a:gd name="T55" fmla="*/ 2147483647 h 252"/>
              <a:gd name="T56" fmla="*/ 2147483647 w 234"/>
              <a:gd name="T57" fmla="*/ 2147483647 h 252"/>
              <a:gd name="T58" fmla="*/ 2147483647 w 234"/>
              <a:gd name="T59" fmla="*/ 2147483647 h 252"/>
              <a:gd name="T60" fmla="*/ 2147483647 w 234"/>
              <a:gd name="T61" fmla="*/ 2147483647 h 25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34" h="252">
                <a:moveTo>
                  <a:pt x="217" y="240"/>
                </a:moveTo>
                <a:lnTo>
                  <a:pt x="234" y="209"/>
                </a:lnTo>
                <a:lnTo>
                  <a:pt x="219" y="179"/>
                </a:lnTo>
                <a:lnTo>
                  <a:pt x="228" y="167"/>
                </a:lnTo>
                <a:lnTo>
                  <a:pt x="203" y="146"/>
                </a:lnTo>
                <a:lnTo>
                  <a:pt x="209" y="119"/>
                </a:lnTo>
                <a:lnTo>
                  <a:pt x="157" y="119"/>
                </a:lnTo>
                <a:lnTo>
                  <a:pt x="134" y="98"/>
                </a:lnTo>
                <a:lnTo>
                  <a:pt x="134" y="83"/>
                </a:lnTo>
                <a:lnTo>
                  <a:pt x="176" y="58"/>
                </a:lnTo>
                <a:lnTo>
                  <a:pt x="180" y="35"/>
                </a:lnTo>
                <a:lnTo>
                  <a:pt x="167" y="4"/>
                </a:lnTo>
                <a:lnTo>
                  <a:pt x="144" y="0"/>
                </a:lnTo>
                <a:lnTo>
                  <a:pt x="103" y="27"/>
                </a:lnTo>
                <a:lnTo>
                  <a:pt x="82" y="19"/>
                </a:lnTo>
                <a:lnTo>
                  <a:pt x="63" y="42"/>
                </a:lnTo>
                <a:lnTo>
                  <a:pt x="32" y="42"/>
                </a:lnTo>
                <a:lnTo>
                  <a:pt x="0" y="85"/>
                </a:lnTo>
                <a:lnTo>
                  <a:pt x="0" y="154"/>
                </a:lnTo>
                <a:lnTo>
                  <a:pt x="23" y="167"/>
                </a:lnTo>
                <a:lnTo>
                  <a:pt x="32" y="158"/>
                </a:lnTo>
                <a:lnTo>
                  <a:pt x="34" y="127"/>
                </a:lnTo>
                <a:lnTo>
                  <a:pt x="48" y="127"/>
                </a:lnTo>
                <a:lnTo>
                  <a:pt x="75" y="167"/>
                </a:lnTo>
                <a:lnTo>
                  <a:pt x="88" y="230"/>
                </a:lnTo>
                <a:lnTo>
                  <a:pt x="109" y="227"/>
                </a:lnTo>
                <a:lnTo>
                  <a:pt x="123" y="230"/>
                </a:lnTo>
                <a:lnTo>
                  <a:pt x="134" y="252"/>
                </a:lnTo>
                <a:lnTo>
                  <a:pt x="176" y="250"/>
                </a:lnTo>
                <a:lnTo>
                  <a:pt x="194" y="227"/>
                </a:lnTo>
                <a:lnTo>
                  <a:pt x="217" y="240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51" name="Freeform 51"/>
          <p:cNvSpPr>
            <a:spLocks noChangeAspect="1"/>
          </p:cNvSpPr>
          <p:nvPr/>
        </p:nvSpPr>
        <p:spPr bwMode="gray">
          <a:xfrm>
            <a:off x="2747963" y="4866011"/>
            <a:ext cx="277812" cy="328612"/>
          </a:xfrm>
          <a:custGeom>
            <a:avLst/>
            <a:gdLst/>
            <a:ahLst/>
            <a:cxnLst>
              <a:cxn ang="0">
                <a:pos x="91" y="299"/>
              </a:cxn>
              <a:cxn ang="0">
                <a:pos x="73" y="268"/>
              </a:cxn>
              <a:cxn ang="0">
                <a:pos x="43" y="274"/>
              </a:cxn>
              <a:cxn ang="0">
                <a:pos x="22" y="282"/>
              </a:cxn>
              <a:cxn ang="0">
                <a:pos x="0" y="251"/>
              </a:cxn>
              <a:cxn ang="0">
                <a:pos x="62" y="148"/>
              </a:cxn>
              <a:cxn ang="0">
                <a:pos x="39" y="134"/>
              </a:cxn>
              <a:cxn ang="0">
                <a:pos x="54" y="117"/>
              </a:cxn>
              <a:cxn ang="0">
                <a:pos x="58" y="98"/>
              </a:cxn>
              <a:cxn ang="0">
                <a:pos x="22" y="59"/>
              </a:cxn>
              <a:cxn ang="0">
                <a:pos x="27" y="42"/>
              </a:cxn>
              <a:cxn ang="0">
                <a:pos x="37" y="44"/>
              </a:cxn>
              <a:cxn ang="0">
                <a:pos x="71" y="19"/>
              </a:cxn>
              <a:cxn ang="0">
                <a:pos x="104" y="7"/>
              </a:cxn>
              <a:cxn ang="0">
                <a:pos x="137" y="27"/>
              </a:cxn>
              <a:cxn ang="0">
                <a:pos x="160" y="40"/>
              </a:cxn>
              <a:cxn ang="0">
                <a:pos x="169" y="31"/>
              </a:cxn>
              <a:cxn ang="0">
                <a:pos x="171" y="0"/>
              </a:cxn>
              <a:cxn ang="0">
                <a:pos x="185" y="0"/>
              </a:cxn>
              <a:cxn ang="0">
                <a:pos x="212" y="40"/>
              </a:cxn>
              <a:cxn ang="0">
                <a:pos x="225" y="103"/>
              </a:cxn>
              <a:cxn ang="0">
                <a:pos x="190" y="134"/>
              </a:cxn>
              <a:cxn ang="0">
                <a:pos x="160" y="190"/>
              </a:cxn>
              <a:cxn ang="0">
                <a:pos x="165" y="209"/>
              </a:cxn>
              <a:cxn ang="0">
                <a:pos x="169" y="268"/>
              </a:cxn>
              <a:cxn ang="0">
                <a:pos x="91" y="299"/>
              </a:cxn>
            </a:cxnLst>
            <a:rect l="0" t="0" r="r" b="b"/>
            <a:pathLst>
              <a:path w="225" h="299">
                <a:moveTo>
                  <a:pt x="91" y="299"/>
                </a:moveTo>
                <a:lnTo>
                  <a:pt x="73" y="268"/>
                </a:lnTo>
                <a:lnTo>
                  <a:pt x="43" y="274"/>
                </a:lnTo>
                <a:lnTo>
                  <a:pt x="22" y="282"/>
                </a:lnTo>
                <a:lnTo>
                  <a:pt x="0" y="251"/>
                </a:lnTo>
                <a:lnTo>
                  <a:pt x="62" y="148"/>
                </a:lnTo>
                <a:lnTo>
                  <a:pt x="39" y="134"/>
                </a:lnTo>
                <a:lnTo>
                  <a:pt x="54" y="117"/>
                </a:lnTo>
                <a:lnTo>
                  <a:pt x="58" y="98"/>
                </a:lnTo>
                <a:lnTo>
                  <a:pt x="22" y="59"/>
                </a:lnTo>
                <a:lnTo>
                  <a:pt x="27" y="42"/>
                </a:lnTo>
                <a:lnTo>
                  <a:pt x="37" y="44"/>
                </a:lnTo>
                <a:lnTo>
                  <a:pt x="71" y="19"/>
                </a:lnTo>
                <a:lnTo>
                  <a:pt x="104" y="7"/>
                </a:lnTo>
                <a:lnTo>
                  <a:pt x="137" y="27"/>
                </a:lnTo>
                <a:lnTo>
                  <a:pt x="160" y="40"/>
                </a:lnTo>
                <a:lnTo>
                  <a:pt x="169" y="31"/>
                </a:lnTo>
                <a:lnTo>
                  <a:pt x="171" y="0"/>
                </a:lnTo>
                <a:lnTo>
                  <a:pt x="185" y="0"/>
                </a:lnTo>
                <a:lnTo>
                  <a:pt x="212" y="40"/>
                </a:lnTo>
                <a:lnTo>
                  <a:pt x="225" y="103"/>
                </a:lnTo>
                <a:lnTo>
                  <a:pt x="190" y="134"/>
                </a:lnTo>
                <a:lnTo>
                  <a:pt x="160" y="190"/>
                </a:lnTo>
                <a:lnTo>
                  <a:pt x="165" y="209"/>
                </a:lnTo>
                <a:lnTo>
                  <a:pt x="169" y="268"/>
                </a:lnTo>
                <a:lnTo>
                  <a:pt x="91" y="299"/>
                </a:lnTo>
                <a:close/>
              </a:path>
            </a:pathLst>
          </a:custGeom>
          <a:solidFill>
            <a:schemeClr val="accent3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53" name="Freeform 52"/>
          <p:cNvSpPr>
            <a:spLocks noChangeAspect="1"/>
          </p:cNvSpPr>
          <p:nvPr/>
        </p:nvSpPr>
        <p:spPr bwMode="gray">
          <a:xfrm>
            <a:off x="2859095" y="4977140"/>
            <a:ext cx="325437" cy="412751"/>
          </a:xfrm>
          <a:custGeom>
            <a:avLst/>
            <a:gdLst>
              <a:gd name="T0" fmla="*/ 2147483647 w 263"/>
              <a:gd name="T1" fmla="*/ 2147483647 h 378"/>
              <a:gd name="T2" fmla="*/ 2147483647 w 263"/>
              <a:gd name="T3" fmla="*/ 2147483647 h 378"/>
              <a:gd name="T4" fmla="*/ 2147483647 w 263"/>
              <a:gd name="T5" fmla="*/ 2147483647 h 378"/>
              <a:gd name="T6" fmla="*/ 2147483647 w 263"/>
              <a:gd name="T7" fmla="*/ 2147483647 h 378"/>
              <a:gd name="T8" fmla="*/ 2147483647 w 263"/>
              <a:gd name="T9" fmla="*/ 2147483647 h 378"/>
              <a:gd name="T10" fmla="*/ 0 w 263"/>
              <a:gd name="T11" fmla="*/ 2147483647 h 378"/>
              <a:gd name="T12" fmla="*/ 2147483647 w 263"/>
              <a:gd name="T13" fmla="*/ 2147483647 h 378"/>
              <a:gd name="T14" fmla="*/ 2147483647 w 263"/>
              <a:gd name="T15" fmla="*/ 2147483647 h 378"/>
              <a:gd name="T16" fmla="*/ 2147483647 w 263"/>
              <a:gd name="T17" fmla="*/ 2147483647 h 378"/>
              <a:gd name="T18" fmla="*/ 2147483647 w 263"/>
              <a:gd name="T19" fmla="*/ 2147483647 h 378"/>
              <a:gd name="T20" fmla="*/ 2147483647 w 263"/>
              <a:gd name="T21" fmla="*/ 2147483647 h 378"/>
              <a:gd name="T22" fmla="*/ 2147483647 w 263"/>
              <a:gd name="T23" fmla="*/ 2147483647 h 378"/>
              <a:gd name="T24" fmla="*/ 2147483647 w 263"/>
              <a:gd name="T25" fmla="*/ 2147483647 h 378"/>
              <a:gd name="T26" fmla="*/ 2147483647 w 263"/>
              <a:gd name="T27" fmla="*/ 2147483647 h 378"/>
              <a:gd name="T28" fmla="*/ 2147483647 w 263"/>
              <a:gd name="T29" fmla="*/ 2147483647 h 378"/>
              <a:gd name="T30" fmla="*/ 2147483647 w 263"/>
              <a:gd name="T31" fmla="*/ 2147483647 h 378"/>
              <a:gd name="T32" fmla="*/ 2147483647 w 263"/>
              <a:gd name="T33" fmla="*/ 2147483647 h 378"/>
              <a:gd name="T34" fmla="*/ 2147483647 w 263"/>
              <a:gd name="T35" fmla="*/ 0 h 378"/>
              <a:gd name="T36" fmla="*/ 2147483647 w 263"/>
              <a:gd name="T37" fmla="*/ 2147483647 h 378"/>
              <a:gd name="T38" fmla="*/ 2147483647 w 263"/>
              <a:gd name="T39" fmla="*/ 2147483647 h 378"/>
              <a:gd name="T40" fmla="*/ 2147483647 w 263"/>
              <a:gd name="T41" fmla="*/ 2147483647 h 378"/>
              <a:gd name="T42" fmla="*/ 2147483647 w 263"/>
              <a:gd name="T43" fmla="*/ 0 h 378"/>
              <a:gd name="T44" fmla="*/ 2147483647 w 263"/>
              <a:gd name="T45" fmla="*/ 2147483647 h 37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63" h="378">
                <a:moveTo>
                  <a:pt x="134" y="3"/>
                </a:moveTo>
                <a:lnTo>
                  <a:pt x="99" y="34"/>
                </a:lnTo>
                <a:lnTo>
                  <a:pt x="69" y="90"/>
                </a:lnTo>
                <a:lnTo>
                  <a:pt x="74" y="109"/>
                </a:lnTo>
                <a:lnTo>
                  <a:pt x="78" y="168"/>
                </a:lnTo>
                <a:lnTo>
                  <a:pt x="0" y="199"/>
                </a:lnTo>
                <a:lnTo>
                  <a:pt x="34" y="261"/>
                </a:lnTo>
                <a:lnTo>
                  <a:pt x="94" y="333"/>
                </a:lnTo>
                <a:lnTo>
                  <a:pt x="94" y="372"/>
                </a:lnTo>
                <a:lnTo>
                  <a:pt x="105" y="378"/>
                </a:lnTo>
                <a:lnTo>
                  <a:pt x="144" y="284"/>
                </a:lnTo>
                <a:lnTo>
                  <a:pt x="144" y="247"/>
                </a:lnTo>
                <a:lnTo>
                  <a:pt x="170" y="157"/>
                </a:lnTo>
                <a:lnTo>
                  <a:pt x="213" y="94"/>
                </a:lnTo>
                <a:lnTo>
                  <a:pt x="209" y="84"/>
                </a:lnTo>
                <a:lnTo>
                  <a:pt x="209" y="55"/>
                </a:lnTo>
                <a:lnTo>
                  <a:pt x="263" y="13"/>
                </a:lnTo>
                <a:lnTo>
                  <a:pt x="240" y="0"/>
                </a:lnTo>
                <a:lnTo>
                  <a:pt x="222" y="23"/>
                </a:lnTo>
                <a:lnTo>
                  <a:pt x="180" y="25"/>
                </a:lnTo>
                <a:lnTo>
                  <a:pt x="169" y="3"/>
                </a:lnTo>
                <a:lnTo>
                  <a:pt x="155" y="0"/>
                </a:lnTo>
                <a:lnTo>
                  <a:pt x="134" y="3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54" name="Freeform 53"/>
          <p:cNvSpPr>
            <a:spLocks noChangeAspect="1"/>
          </p:cNvSpPr>
          <p:nvPr/>
        </p:nvSpPr>
        <p:spPr bwMode="gray">
          <a:xfrm>
            <a:off x="2681294" y="5140647"/>
            <a:ext cx="295275" cy="342900"/>
          </a:xfrm>
          <a:custGeom>
            <a:avLst/>
            <a:gdLst>
              <a:gd name="T0" fmla="*/ 2147483647 w 238"/>
              <a:gd name="T1" fmla="*/ 2147483647 h 313"/>
              <a:gd name="T2" fmla="*/ 2147483647 w 238"/>
              <a:gd name="T3" fmla="*/ 2147483647 h 313"/>
              <a:gd name="T4" fmla="*/ 2147483647 w 238"/>
              <a:gd name="T5" fmla="*/ 2147483647 h 313"/>
              <a:gd name="T6" fmla="*/ 2147483647 w 238"/>
              <a:gd name="T7" fmla="*/ 2147483647 h 313"/>
              <a:gd name="T8" fmla="*/ 2147483647 w 238"/>
              <a:gd name="T9" fmla="*/ 2147483647 h 313"/>
              <a:gd name="T10" fmla="*/ 2147483647 w 238"/>
              <a:gd name="T11" fmla="*/ 2147483647 h 313"/>
              <a:gd name="T12" fmla="*/ 2147483647 w 238"/>
              <a:gd name="T13" fmla="*/ 2147483647 h 313"/>
              <a:gd name="T14" fmla="*/ 2147483647 w 238"/>
              <a:gd name="T15" fmla="*/ 2147483647 h 313"/>
              <a:gd name="T16" fmla="*/ 2147483647 w 238"/>
              <a:gd name="T17" fmla="*/ 2147483647 h 313"/>
              <a:gd name="T18" fmla="*/ 2147483647 w 238"/>
              <a:gd name="T19" fmla="*/ 2147483647 h 313"/>
              <a:gd name="T20" fmla="*/ 2147483647 w 238"/>
              <a:gd name="T21" fmla="*/ 2147483647 h 313"/>
              <a:gd name="T22" fmla="*/ 2147483647 w 238"/>
              <a:gd name="T23" fmla="*/ 2147483647 h 313"/>
              <a:gd name="T24" fmla="*/ 2147483647 w 238"/>
              <a:gd name="T25" fmla="*/ 2147483647 h 313"/>
              <a:gd name="T26" fmla="*/ 2147483647 w 238"/>
              <a:gd name="T27" fmla="*/ 2147483647 h 313"/>
              <a:gd name="T28" fmla="*/ 2147483647 w 238"/>
              <a:gd name="T29" fmla="*/ 2147483647 h 313"/>
              <a:gd name="T30" fmla="*/ 2147483647 w 238"/>
              <a:gd name="T31" fmla="*/ 2147483647 h 313"/>
              <a:gd name="T32" fmla="*/ 2147483647 w 238"/>
              <a:gd name="T33" fmla="*/ 2147483647 h 313"/>
              <a:gd name="T34" fmla="*/ 2147483647 w 238"/>
              <a:gd name="T35" fmla="*/ 2147483647 h 313"/>
              <a:gd name="T36" fmla="*/ 2147483647 w 238"/>
              <a:gd name="T37" fmla="*/ 2147483647 h 313"/>
              <a:gd name="T38" fmla="*/ 2147483647 w 238"/>
              <a:gd name="T39" fmla="*/ 2147483647 h 313"/>
              <a:gd name="T40" fmla="*/ 2147483647 w 238"/>
              <a:gd name="T41" fmla="*/ 2147483647 h 313"/>
              <a:gd name="T42" fmla="*/ 2147483647 w 238"/>
              <a:gd name="T43" fmla="*/ 2147483647 h 313"/>
              <a:gd name="T44" fmla="*/ 2147483647 w 238"/>
              <a:gd name="T45" fmla="*/ 2147483647 h 313"/>
              <a:gd name="T46" fmla="*/ 2147483647 w 238"/>
              <a:gd name="T47" fmla="*/ 2147483647 h 313"/>
              <a:gd name="T48" fmla="*/ 2147483647 w 238"/>
              <a:gd name="T49" fmla="*/ 2147483647 h 313"/>
              <a:gd name="T50" fmla="*/ 2147483647 w 238"/>
              <a:gd name="T51" fmla="*/ 2147483647 h 313"/>
              <a:gd name="T52" fmla="*/ 2147483647 w 238"/>
              <a:gd name="T53" fmla="*/ 2147483647 h 313"/>
              <a:gd name="T54" fmla="*/ 2147483647 w 238"/>
              <a:gd name="T55" fmla="*/ 2147483647 h 313"/>
              <a:gd name="T56" fmla="*/ 2147483647 w 238"/>
              <a:gd name="T57" fmla="*/ 2147483647 h 313"/>
              <a:gd name="T58" fmla="*/ 2147483647 w 238"/>
              <a:gd name="T59" fmla="*/ 2147483647 h 313"/>
              <a:gd name="T60" fmla="*/ 0 w 238"/>
              <a:gd name="T61" fmla="*/ 2147483647 h 313"/>
              <a:gd name="T62" fmla="*/ 2147483647 w 238"/>
              <a:gd name="T63" fmla="*/ 2147483647 h 313"/>
              <a:gd name="T64" fmla="*/ 2147483647 w 238"/>
              <a:gd name="T65" fmla="*/ 2147483647 h 313"/>
              <a:gd name="T66" fmla="*/ 2147483647 w 238"/>
              <a:gd name="T67" fmla="*/ 2147483647 h 313"/>
              <a:gd name="T68" fmla="*/ 2147483647 w 238"/>
              <a:gd name="T69" fmla="*/ 0 h 313"/>
              <a:gd name="T70" fmla="*/ 2147483647 w 238"/>
              <a:gd name="T71" fmla="*/ 2147483647 h 313"/>
              <a:gd name="T72" fmla="*/ 2147483647 w 238"/>
              <a:gd name="T73" fmla="*/ 2147483647 h 313"/>
              <a:gd name="T74" fmla="*/ 2147483647 w 238"/>
              <a:gd name="T75" fmla="*/ 2147483647 h 313"/>
              <a:gd name="T76" fmla="*/ 2147483647 w 238"/>
              <a:gd name="T77" fmla="*/ 2147483647 h 313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38" h="313">
                <a:moveTo>
                  <a:pt x="144" y="48"/>
                </a:moveTo>
                <a:lnTo>
                  <a:pt x="178" y="110"/>
                </a:lnTo>
                <a:lnTo>
                  <a:pt x="238" y="182"/>
                </a:lnTo>
                <a:lnTo>
                  <a:pt x="238" y="221"/>
                </a:lnTo>
                <a:lnTo>
                  <a:pt x="203" y="207"/>
                </a:lnTo>
                <a:lnTo>
                  <a:pt x="182" y="229"/>
                </a:lnTo>
                <a:lnTo>
                  <a:pt x="201" y="252"/>
                </a:lnTo>
                <a:lnTo>
                  <a:pt x="190" y="267"/>
                </a:lnTo>
                <a:lnTo>
                  <a:pt x="105" y="313"/>
                </a:lnTo>
                <a:lnTo>
                  <a:pt x="96" y="307"/>
                </a:lnTo>
                <a:lnTo>
                  <a:pt x="121" y="278"/>
                </a:lnTo>
                <a:lnTo>
                  <a:pt x="132" y="242"/>
                </a:lnTo>
                <a:lnTo>
                  <a:pt x="123" y="198"/>
                </a:lnTo>
                <a:lnTo>
                  <a:pt x="98" y="175"/>
                </a:lnTo>
                <a:lnTo>
                  <a:pt x="101" y="163"/>
                </a:lnTo>
                <a:lnTo>
                  <a:pt x="124" y="163"/>
                </a:lnTo>
                <a:lnTo>
                  <a:pt x="136" y="140"/>
                </a:lnTo>
                <a:lnTo>
                  <a:pt x="130" y="131"/>
                </a:lnTo>
                <a:lnTo>
                  <a:pt x="107" y="131"/>
                </a:lnTo>
                <a:lnTo>
                  <a:pt x="82" y="154"/>
                </a:lnTo>
                <a:lnTo>
                  <a:pt x="71" y="207"/>
                </a:lnTo>
                <a:lnTo>
                  <a:pt x="84" y="240"/>
                </a:lnTo>
                <a:lnTo>
                  <a:pt x="94" y="265"/>
                </a:lnTo>
                <a:lnTo>
                  <a:pt x="82" y="277"/>
                </a:lnTo>
                <a:lnTo>
                  <a:pt x="57" y="255"/>
                </a:lnTo>
                <a:lnTo>
                  <a:pt x="27" y="255"/>
                </a:lnTo>
                <a:lnTo>
                  <a:pt x="5" y="242"/>
                </a:lnTo>
                <a:lnTo>
                  <a:pt x="5" y="230"/>
                </a:lnTo>
                <a:lnTo>
                  <a:pt x="23" y="202"/>
                </a:lnTo>
                <a:lnTo>
                  <a:pt x="25" y="144"/>
                </a:lnTo>
                <a:lnTo>
                  <a:pt x="0" y="115"/>
                </a:lnTo>
                <a:lnTo>
                  <a:pt x="9" y="50"/>
                </a:lnTo>
                <a:lnTo>
                  <a:pt x="13" y="23"/>
                </a:lnTo>
                <a:lnTo>
                  <a:pt x="23" y="23"/>
                </a:lnTo>
                <a:lnTo>
                  <a:pt x="53" y="0"/>
                </a:lnTo>
                <a:lnTo>
                  <a:pt x="75" y="31"/>
                </a:lnTo>
                <a:lnTo>
                  <a:pt x="96" y="23"/>
                </a:lnTo>
                <a:lnTo>
                  <a:pt x="126" y="17"/>
                </a:lnTo>
                <a:lnTo>
                  <a:pt x="144" y="48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54" name="Freeform 54"/>
          <p:cNvSpPr>
            <a:spLocks noChangeAspect="1"/>
          </p:cNvSpPr>
          <p:nvPr/>
        </p:nvSpPr>
        <p:spPr bwMode="gray">
          <a:xfrm>
            <a:off x="2355854" y="5764540"/>
            <a:ext cx="211139" cy="207963"/>
          </a:xfrm>
          <a:custGeom>
            <a:avLst/>
            <a:gdLst/>
            <a:ahLst/>
            <a:cxnLst>
              <a:cxn ang="0">
                <a:pos x="159" y="44"/>
              </a:cxn>
              <a:cxn ang="0">
                <a:pos x="127" y="63"/>
              </a:cxn>
              <a:cxn ang="0">
                <a:pos x="125" y="73"/>
              </a:cxn>
              <a:cxn ang="0">
                <a:pos x="100" y="79"/>
              </a:cxn>
              <a:cxn ang="0">
                <a:pos x="85" y="98"/>
              </a:cxn>
              <a:cxn ang="0">
                <a:pos x="60" y="100"/>
              </a:cxn>
              <a:cxn ang="0">
                <a:pos x="58" y="136"/>
              </a:cxn>
              <a:cxn ang="0">
                <a:pos x="40" y="144"/>
              </a:cxn>
              <a:cxn ang="0">
                <a:pos x="35" y="163"/>
              </a:cxn>
              <a:cxn ang="0">
                <a:pos x="39" y="171"/>
              </a:cxn>
              <a:cxn ang="0">
                <a:pos x="10" y="190"/>
              </a:cxn>
              <a:cxn ang="0">
                <a:pos x="0" y="190"/>
              </a:cxn>
              <a:cxn ang="0">
                <a:pos x="4" y="163"/>
              </a:cxn>
              <a:cxn ang="0">
                <a:pos x="25" y="129"/>
              </a:cxn>
              <a:cxn ang="0">
                <a:pos x="25" y="107"/>
              </a:cxn>
              <a:cxn ang="0">
                <a:pos x="79" y="67"/>
              </a:cxn>
              <a:cxn ang="0">
                <a:pos x="81" y="58"/>
              </a:cxn>
              <a:cxn ang="0">
                <a:pos x="69" y="46"/>
              </a:cxn>
              <a:cxn ang="0">
                <a:pos x="75" y="35"/>
              </a:cxn>
              <a:cxn ang="0">
                <a:pos x="88" y="38"/>
              </a:cxn>
              <a:cxn ang="0">
                <a:pos x="102" y="50"/>
              </a:cxn>
              <a:cxn ang="0">
                <a:pos x="159" y="0"/>
              </a:cxn>
              <a:cxn ang="0">
                <a:pos x="171" y="6"/>
              </a:cxn>
              <a:cxn ang="0">
                <a:pos x="159" y="44"/>
              </a:cxn>
            </a:cxnLst>
            <a:rect l="0" t="0" r="r" b="b"/>
            <a:pathLst>
              <a:path w="171" h="190">
                <a:moveTo>
                  <a:pt x="159" y="44"/>
                </a:moveTo>
                <a:lnTo>
                  <a:pt x="127" y="63"/>
                </a:lnTo>
                <a:lnTo>
                  <a:pt x="125" y="73"/>
                </a:lnTo>
                <a:lnTo>
                  <a:pt x="100" y="79"/>
                </a:lnTo>
                <a:lnTo>
                  <a:pt x="85" y="98"/>
                </a:lnTo>
                <a:lnTo>
                  <a:pt x="60" y="100"/>
                </a:lnTo>
                <a:lnTo>
                  <a:pt x="58" y="136"/>
                </a:lnTo>
                <a:lnTo>
                  <a:pt x="40" y="144"/>
                </a:lnTo>
                <a:lnTo>
                  <a:pt x="35" y="163"/>
                </a:lnTo>
                <a:lnTo>
                  <a:pt x="39" y="171"/>
                </a:lnTo>
                <a:lnTo>
                  <a:pt x="10" y="190"/>
                </a:lnTo>
                <a:lnTo>
                  <a:pt x="0" y="190"/>
                </a:lnTo>
                <a:lnTo>
                  <a:pt x="4" y="163"/>
                </a:lnTo>
                <a:lnTo>
                  <a:pt x="25" y="129"/>
                </a:lnTo>
                <a:lnTo>
                  <a:pt x="25" y="107"/>
                </a:lnTo>
                <a:lnTo>
                  <a:pt x="79" y="67"/>
                </a:lnTo>
                <a:lnTo>
                  <a:pt x="81" y="58"/>
                </a:lnTo>
                <a:lnTo>
                  <a:pt x="69" y="46"/>
                </a:lnTo>
                <a:lnTo>
                  <a:pt x="75" y="35"/>
                </a:lnTo>
                <a:lnTo>
                  <a:pt x="88" y="38"/>
                </a:lnTo>
                <a:lnTo>
                  <a:pt x="102" y="50"/>
                </a:lnTo>
                <a:lnTo>
                  <a:pt x="159" y="0"/>
                </a:lnTo>
                <a:lnTo>
                  <a:pt x="171" y="6"/>
                </a:lnTo>
                <a:lnTo>
                  <a:pt x="159" y="44"/>
                </a:lnTo>
                <a:close/>
              </a:path>
            </a:pathLst>
          </a:custGeom>
          <a:solidFill>
            <a:schemeClr val="accent3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56" name="Freeform 55"/>
          <p:cNvSpPr>
            <a:spLocks noChangeAspect="1"/>
          </p:cNvSpPr>
          <p:nvPr/>
        </p:nvSpPr>
        <p:spPr bwMode="gray">
          <a:xfrm>
            <a:off x="2511433" y="4792992"/>
            <a:ext cx="22225" cy="39687"/>
          </a:xfrm>
          <a:custGeom>
            <a:avLst/>
            <a:gdLst>
              <a:gd name="T0" fmla="*/ 2147483647 w 20"/>
              <a:gd name="T1" fmla="*/ 2147483647 h 38"/>
              <a:gd name="T2" fmla="*/ 0 w 20"/>
              <a:gd name="T3" fmla="*/ 2147483647 h 38"/>
              <a:gd name="T4" fmla="*/ 0 w 20"/>
              <a:gd name="T5" fmla="*/ 2147483647 h 38"/>
              <a:gd name="T6" fmla="*/ 2147483647 w 20"/>
              <a:gd name="T7" fmla="*/ 0 h 38"/>
              <a:gd name="T8" fmla="*/ 2147483647 w 20"/>
              <a:gd name="T9" fmla="*/ 2147483647 h 38"/>
              <a:gd name="T10" fmla="*/ 2147483647 w 20"/>
              <a:gd name="T11" fmla="*/ 2147483647 h 3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0" h="38">
                <a:moveTo>
                  <a:pt x="4" y="36"/>
                </a:moveTo>
                <a:lnTo>
                  <a:pt x="0" y="38"/>
                </a:lnTo>
                <a:lnTo>
                  <a:pt x="0" y="19"/>
                </a:lnTo>
                <a:lnTo>
                  <a:pt x="12" y="0"/>
                </a:lnTo>
                <a:lnTo>
                  <a:pt x="20" y="7"/>
                </a:lnTo>
                <a:lnTo>
                  <a:pt x="4" y="36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57" name="Freeform 56"/>
          <p:cNvSpPr>
            <a:spLocks noChangeAspect="1"/>
          </p:cNvSpPr>
          <p:nvPr/>
        </p:nvSpPr>
        <p:spPr bwMode="gray">
          <a:xfrm>
            <a:off x="2511433" y="4792992"/>
            <a:ext cx="22225" cy="39687"/>
          </a:xfrm>
          <a:custGeom>
            <a:avLst/>
            <a:gdLst>
              <a:gd name="T0" fmla="*/ 2147483647 w 20"/>
              <a:gd name="T1" fmla="*/ 2147483647 h 38"/>
              <a:gd name="T2" fmla="*/ 0 w 20"/>
              <a:gd name="T3" fmla="*/ 2147483647 h 38"/>
              <a:gd name="T4" fmla="*/ 0 w 20"/>
              <a:gd name="T5" fmla="*/ 2147483647 h 38"/>
              <a:gd name="T6" fmla="*/ 2147483647 w 20"/>
              <a:gd name="T7" fmla="*/ 0 h 38"/>
              <a:gd name="T8" fmla="*/ 2147483647 w 20"/>
              <a:gd name="T9" fmla="*/ 2147483647 h 38"/>
              <a:gd name="T10" fmla="*/ 2147483647 w 20"/>
              <a:gd name="T11" fmla="*/ 2147483647 h 3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0" h="38">
                <a:moveTo>
                  <a:pt x="4" y="36"/>
                </a:moveTo>
                <a:lnTo>
                  <a:pt x="0" y="38"/>
                </a:lnTo>
                <a:lnTo>
                  <a:pt x="0" y="19"/>
                </a:lnTo>
                <a:lnTo>
                  <a:pt x="12" y="0"/>
                </a:lnTo>
                <a:lnTo>
                  <a:pt x="20" y="7"/>
                </a:lnTo>
                <a:lnTo>
                  <a:pt x="4" y="36"/>
                </a:lnTo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58" name="Freeform 57"/>
          <p:cNvSpPr>
            <a:spLocks noChangeAspect="1"/>
          </p:cNvSpPr>
          <p:nvPr/>
        </p:nvSpPr>
        <p:spPr bwMode="gray">
          <a:xfrm>
            <a:off x="2563820" y="4877123"/>
            <a:ext cx="39687" cy="76200"/>
          </a:xfrm>
          <a:custGeom>
            <a:avLst/>
            <a:gdLst>
              <a:gd name="T0" fmla="*/ 2147483647 w 32"/>
              <a:gd name="T1" fmla="*/ 2147483647 h 69"/>
              <a:gd name="T2" fmla="*/ 2147483647 w 32"/>
              <a:gd name="T3" fmla="*/ 2147483647 h 69"/>
              <a:gd name="T4" fmla="*/ 2147483647 w 32"/>
              <a:gd name="T5" fmla="*/ 2147483647 h 69"/>
              <a:gd name="T6" fmla="*/ 0 w 32"/>
              <a:gd name="T7" fmla="*/ 2147483647 h 69"/>
              <a:gd name="T8" fmla="*/ 2147483647 w 32"/>
              <a:gd name="T9" fmla="*/ 0 h 69"/>
              <a:gd name="T10" fmla="*/ 2147483647 w 32"/>
              <a:gd name="T11" fmla="*/ 2147483647 h 69"/>
              <a:gd name="T12" fmla="*/ 2147483647 w 32"/>
              <a:gd name="T13" fmla="*/ 2147483647 h 6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2" h="69">
                <a:moveTo>
                  <a:pt x="28" y="50"/>
                </a:moveTo>
                <a:lnTo>
                  <a:pt x="32" y="58"/>
                </a:lnTo>
                <a:lnTo>
                  <a:pt x="17" y="69"/>
                </a:lnTo>
                <a:lnTo>
                  <a:pt x="0" y="41"/>
                </a:lnTo>
                <a:lnTo>
                  <a:pt x="9" y="0"/>
                </a:lnTo>
                <a:lnTo>
                  <a:pt x="32" y="29"/>
                </a:lnTo>
                <a:lnTo>
                  <a:pt x="28" y="50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59" name="Freeform 58"/>
          <p:cNvSpPr>
            <a:spLocks noChangeAspect="1"/>
          </p:cNvSpPr>
          <p:nvPr/>
        </p:nvSpPr>
        <p:spPr bwMode="gray">
          <a:xfrm>
            <a:off x="2636846" y="5039047"/>
            <a:ext cx="58737" cy="88900"/>
          </a:xfrm>
          <a:custGeom>
            <a:avLst/>
            <a:gdLst>
              <a:gd name="T0" fmla="*/ 2147483647 w 48"/>
              <a:gd name="T1" fmla="*/ 2147483647 h 83"/>
              <a:gd name="T2" fmla="*/ 2147483647 w 48"/>
              <a:gd name="T3" fmla="*/ 2147483647 h 83"/>
              <a:gd name="T4" fmla="*/ 0 w 48"/>
              <a:gd name="T5" fmla="*/ 2147483647 h 83"/>
              <a:gd name="T6" fmla="*/ 2147483647 w 48"/>
              <a:gd name="T7" fmla="*/ 2147483647 h 83"/>
              <a:gd name="T8" fmla="*/ 2147483647 w 48"/>
              <a:gd name="T9" fmla="*/ 2147483647 h 83"/>
              <a:gd name="T10" fmla="*/ 2147483647 w 48"/>
              <a:gd name="T11" fmla="*/ 2147483647 h 83"/>
              <a:gd name="T12" fmla="*/ 2147483647 w 48"/>
              <a:gd name="T13" fmla="*/ 0 h 83"/>
              <a:gd name="T14" fmla="*/ 2147483647 w 48"/>
              <a:gd name="T15" fmla="*/ 0 h 83"/>
              <a:gd name="T16" fmla="*/ 2147483647 w 48"/>
              <a:gd name="T17" fmla="*/ 2147483647 h 8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8" h="83">
                <a:moveTo>
                  <a:pt x="48" y="46"/>
                </a:moveTo>
                <a:lnTo>
                  <a:pt x="10" y="83"/>
                </a:lnTo>
                <a:lnTo>
                  <a:pt x="0" y="73"/>
                </a:lnTo>
                <a:lnTo>
                  <a:pt x="10" y="63"/>
                </a:lnTo>
                <a:lnTo>
                  <a:pt x="2" y="42"/>
                </a:lnTo>
                <a:lnTo>
                  <a:pt x="12" y="10"/>
                </a:lnTo>
                <a:lnTo>
                  <a:pt x="29" y="0"/>
                </a:lnTo>
                <a:lnTo>
                  <a:pt x="46" y="0"/>
                </a:lnTo>
                <a:lnTo>
                  <a:pt x="48" y="46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60" name="Freeform 59"/>
          <p:cNvSpPr>
            <a:spLocks noChangeAspect="1"/>
          </p:cNvSpPr>
          <p:nvPr/>
        </p:nvSpPr>
        <p:spPr bwMode="gray">
          <a:xfrm>
            <a:off x="2711458" y="5046991"/>
            <a:ext cx="47625" cy="31751"/>
          </a:xfrm>
          <a:custGeom>
            <a:avLst/>
            <a:gdLst>
              <a:gd name="T0" fmla="*/ 2147483647 w 40"/>
              <a:gd name="T1" fmla="*/ 2147483647 h 29"/>
              <a:gd name="T2" fmla="*/ 2147483647 w 40"/>
              <a:gd name="T3" fmla="*/ 2147483647 h 29"/>
              <a:gd name="T4" fmla="*/ 2147483647 w 40"/>
              <a:gd name="T5" fmla="*/ 2147483647 h 29"/>
              <a:gd name="T6" fmla="*/ 0 w 40"/>
              <a:gd name="T7" fmla="*/ 2147483647 h 29"/>
              <a:gd name="T8" fmla="*/ 2147483647 w 40"/>
              <a:gd name="T9" fmla="*/ 0 h 29"/>
              <a:gd name="T10" fmla="*/ 2147483647 w 40"/>
              <a:gd name="T11" fmla="*/ 2147483647 h 29"/>
              <a:gd name="T12" fmla="*/ 2147483647 w 40"/>
              <a:gd name="T13" fmla="*/ 2147483647 h 2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0" h="29">
                <a:moveTo>
                  <a:pt x="40" y="4"/>
                </a:moveTo>
                <a:lnTo>
                  <a:pt x="28" y="29"/>
                </a:lnTo>
                <a:lnTo>
                  <a:pt x="9" y="29"/>
                </a:lnTo>
                <a:lnTo>
                  <a:pt x="0" y="21"/>
                </a:lnTo>
                <a:lnTo>
                  <a:pt x="21" y="0"/>
                </a:lnTo>
                <a:lnTo>
                  <a:pt x="36" y="2"/>
                </a:lnTo>
                <a:lnTo>
                  <a:pt x="40" y="4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61" name="Freeform 60"/>
          <p:cNvSpPr>
            <a:spLocks noChangeAspect="1"/>
          </p:cNvSpPr>
          <p:nvPr/>
        </p:nvSpPr>
        <p:spPr bwMode="gray">
          <a:xfrm>
            <a:off x="3522671" y="4032577"/>
            <a:ext cx="28575" cy="19051"/>
          </a:xfrm>
          <a:custGeom>
            <a:avLst/>
            <a:gdLst>
              <a:gd name="T0" fmla="*/ 2147483647 w 23"/>
              <a:gd name="T1" fmla="*/ 2147483647 h 19"/>
              <a:gd name="T2" fmla="*/ 2147483647 w 23"/>
              <a:gd name="T3" fmla="*/ 2147483647 h 19"/>
              <a:gd name="T4" fmla="*/ 0 w 23"/>
              <a:gd name="T5" fmla="*/ 2147483647 h 19"/>
              <a:gd name="T6" fmla="*/ 2147483647 w 23"/>
              <a:gd name="T7" fmla="*/ 0 h 19"/>
              <a:gd name="T8" fmla="*/ 2147483647 w 23"/>
              <a:gd name="T9" fmla="*/ 2147483647 h 19"/>
              <a:gd name="T10" fmla="*/ 2147483647 w 23"/>
              <a:gd name="T11" fmla="*/ 2147483647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3" h="19">
                <a:moveTo>
                  <a:pt x="21" y="17"/>
                </a:moveTo>
                <a:lnTo>
                  <a:pt x="8" y="19"/>
                </a:lnTo>
                <a:lnTo>
                  <a:pt x="0" y="17"/>
                </a:lnTo>
                <a:lnTo>
                  <a:pt x="12" y="0"/>
                </a:lnTo>
                <a:lnTo>
                  <a:pt x="23" y="6"/>
                </a:lnTo>
                <a:lnTo>
                  <a:pt x="21" y="17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62" name="Freeform 61"/>
          <p:cNvSpPr>
            <a:spLocks noChangeAspect="1"/>
          </p:cNvSpPr>
          <p:nvPr/>
        </p:nvSpPr>
        <p:spPr bwMode="gray">
          <a:xfrm>
            <a:off x="3956057" y="4500893"/>
            <a:ext cx="85725" cy="98425"/>
          </a:xfrm>
          <a:custGeom>
            <a:avLst/>
            <a:gdLst>
              <a:gd name="T0" fmla="*/ 2147483647 w 67"/>
              <a:gd name="T1" fmla="*/ 2147483647 h 90"/>
              <a:gd name="T2" fmla="*/ 2147483647 w 67"/>
              <a:gd name="T3" fmla="*/ 2147483647 h 90"/>
              <a:gd name="T4" fmla="*/ 2147483647 w 67"/>
              <a:gd name="T5" fmla="*/ 2147483647 h 90"/>
              <a:gd name="T6" fmla="*/ 0 w 67"/>
              <a:gd name="T7" fmla="*/ 2147483647 h 90"/>
              <a:gd name="T8" fmla="*/ 2147483647 w 67"/>
              <a:gd name="T9" fmla="*/ 2147483647 h 90"/>
              <a:gd name="T10" fmla="*/ 2147483647 w 67"/>
              <a:gd name="T11" fmla="*/ 2147483647 h 90"/>
              <a:gd name="T12" fmla="*/ 2147483647 w 67"/>
              <a:gd name="T13" fmla="*/ 0 h 90"/>
              <a:gd name="T14" fmla="*/ 2147483647 w 67"/>
              <a:gd name="T15" fmla="*/ 2147483647 h 90"/>
              <a:gd name="T16" fmla="*/ 2147483647 w 67"/>
              <a:gd name="T17" fmla="*/ 2147483647 h 9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7" h="90">
                <a:moveTo>
                  <a:pt x="48" y="40"/>
                </a:moveTo>
                <a:lnTo>
                  <a:pt x="51" y="71"/>
                </a:lnTo>
                <a:lnTo>
                  <a:pt x="21" y="90"/>
                </a:lnTo>
                <a:lnTo>
                  <a:pt x="0" y="75"/>
                </a:lnTo>
                <a:lnTo>
                  <a:pt x="1" y="63"/>
                </a:lnTo>
                <a:lnTo>
                  <a:pt x="26" y="33"/>
                </a:lnTo>
                <a:lnTo>
                  <a:pt x="61" y="0"/>
                </a:lnTo>
                <a:lnTo>
                  <a:pt x="67" y="6"/>
                </a:lnTo>
                <a:lnTo>
                  <a:pt x="48" y="40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63" name="Freeform 62"/>
          <p:cNvSpPr>
            <a:spLocks noChangeAspect="1"/>
          </p:cNvSpPr>
          <p:nvPr/>
        </p:nvSpPr>
        <p:spPr bwMode="gray">
          <a:xfrm>
            <a:off x="4922842" y="3391230"/>
            <a:ext cx="80963" cy="155575"/>
          </a:xfrm>
          <a:custGeom>
            <a:avLst/>
            <a:gdLst>
              <a:gd name="T0" fmla="*/ 2147483647 w 65"/>
              <a:gd name="T1" fmla="*/ 2147483647 h 144"/>
              <a:gd name="T2" fmla="*/ 2147483647 w 65"/>
              <a:gd name="T3" fmla="*/ 2147483647 h 144"/>
              <a:gd name="T4" fmla="*/ 2147483647 w 65"/>
              <a:gd name="T5" fmla="*/ 2147483647 h 144"/>
              <a:gd name="T6" fmla="*/ 2147483647 w 65"/>
              <a:gd name="T7" fmla="*/ 2147483647 h 144"/>
              <a:gd name="T8" fmla="*/ 2147483647 w 65"/>
              <a:gd name="T9" fmla="*/ 2147483647 h 144"/>
              <a:gd name="T10" fmla="*/ 2147483647 w 65"/>
              <a:gd name="T11" fmla="*/ 2147483647 h 144"/>
              <a:gd name="T12" fmla="*/ 0 w 65"/>
              <a:gd name="T13" fmla="*/ 2147483647 h 144"/>
              <a:gd name="T14" fmla="*/ 2147483647 w 65"/>
              <a:gd name="T15" fmla="*/ 2147483647 h 144"/>
              <a:gd name="T16" fmla="*/ 2147483647 w 65"/>
              <a:gd name="T17" fmla="*/ 2147483647 h 144"/>
              <a:gd name="T18" fmla="*/ 2147483647 w 65"/>
              <a:gd name="T19" fmla="*/ 2147483647 h 144"/>
              <a:gd name="T20" fmla="*/ 2147483647 w 65"/>
              <a:gd name="T21" fmla="*/ 0 h 144"/>
              <a:gd name="T22" fmla="*/ 2147483647 w 65"/>
              <a:gd name="T23" fmla="*/ 2147483647 h 144"/>
              <a:gd name="T24" fmla="*/ 2147483647 w 65"/>
              <a:gd name="T25" fmla="*/ 2147483647 h 14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65" h="144">
                <a:moveTo>
                  <a:pt x="40" y="65"/>
                </a:moveTo>
                <a:lnTo>
                  <a:pt x="42" y="73"/>
                </a:lnTo>
                <a:lnTo>
                  <a:pt x="59" y="67"/>
                </a:lnTo>
                <a:lnTo>
                  <a:pt x="65" y="75"/>
                </a:lnTo>
                <a:lnTo>
                  <a:pt x="42" y="115"/>
                </a:lnTo>
                <a:lnTo>
                  <a:pt x="8" y="144"/>
                </a:lnTo>
                <a:lnTo>
                  <a:pt x="0" y="142"/>
                </a:lnTo>
                <a:lnTo>
                  <a:pt x="15" y="96"/>
                </a:lnTo>
                <a:lnTo>
                  <a:pt x="2" y="94"/>
                </a:lnTo>
                <a:lnTo>
                  <a:pt x="2" y="71"/>
                </a:lnTo>
                <a:lnTo>
                  <a:pt x="48" y="0"/>
                </a:lnTo>
                <a:lnTo>
                  <a:pt x="48" y="36"/>
                </a:lnTo>
                <a:lnTo>
                  <a:pt x="40" y="65"/>
                </a:lnTo>
                <a:close/>
              </a:path>
            </a:pathLst>
          </a:custGeom>
          <a:solidFill>
            <a:srgbClr val="B4B4B4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63" name="Freeform 63"/>
          <p:cNvSpPr>
            <a:spLocks noChangeAspect="1"/>
          </p:cNvSpPr>
          <p:nvPr/>
        </p:nvSpPr>
        <p:spPr bwMode="gray">
          <a:xfrm>
            <a:off x="5283207" y="1246511"/>
            <a:ext cx="1450975" cy="1230312"/>
          </a:xfrm>
          <a:custGeom>
            <a:avLst/>
            <a:gdLst/>
            <a:ahLst/>
            <a:cxnLst>
              <a:cxn ang="0">
                <a:pos x="712" y="316"/>
              </a:cxn>
              <a:cxn ang="0">
                <a:pos x="754" y="351"/>
              </a:cxn>
              <a:cxn ang="0">
                <a:pos x="831" y="376"/>
              </a:cxn>
              <a:cxn ang="0">
                <a:pos x="850" y="355"/>
              </a:cxn>
              <a:cxn ang="0">
                <a:pos x="890" y="391"/>
              </a:cxn>
              <a:cxn ang="0">
                <a:pos x="1021" y="318"/>
              </a:cxn>
              <a:cxn ang="0">
                <a:pos x="1057" y="278"/>
              </a:cxn>
              <a:cxn ang="0">
                <a:pos x="1025" y="401"/>
              </a:cxn>
              <a:cxn ang="0">
                <a:pos x="1084" y="541"/>
              </a:cxn>
              <a:cxn ang="0">
                <a:pos x="1098" y="562"/>
              </a:cxn>
              <a:cxn ang="0">
                <a:pos x="1153" y="522"/>
              </a:cxn>
              <a:cxn ang="0">
                <a:pos x="1115" y="583"/>
              </a:cxn>
              <a:cxn ang="0">
                <a:pos x="1038" y="631"/>
              </a:cxn>
              <a:cxn ang="0">
                <a:pos x="979" y="641"/>
              </a:cxn>
              <a:cxn ang="0">
                <a:pos x="902" y="660"/>
              </a:cxn>
              <a:cxn ang="0">
                <a:pos x="835" y="671"/>
              </a:cxn>
              <a:cxn ang="0">
                <a:pos x="702" y="869"/>
              </a:cxn>
              <a:cxn ang="0">
                <a:pos x="679" y="946"/>
              </a:cxn>
              <a:cxn ang="0">
                <a:pos x="543" y="875"/>
              </a:cxn>
              <a:cxn ang="0">
                <a:pos x="387" y="783"/>
              </a:cxn>
              <a:cxn ang="0">
                <a:pos x="242" y="873"/>
              </a:cxn>
              <a:cxn ang="0">
                <a:pos x="184" y="811"/>
              </a:cxn>
              <a:cxn ang="0">
                <a:pos x="101" y="846"/>
              </a:cxn>
              <a:cxn ang="0">
                <a:pos x="153" y="936"/>
              </a:cxn>
              <a:cxn ang="0">
                <a:pos x="249" y="994"/>
              </a:cxn>
              <a:cxn ang="0">
                <a:pos x="280" y="1007"/>
              </a:cxn>
              <a:cxn ang="0">
                <a:pos x="207" y="1023"/>
              </a:cxn>
              <a:cxn ang="0">
                <a:pos x="182" y="1007"/>
              </a:cxn>
              <a:cxn ang="0">
                <a:pos x="134" y="1080"/>
              </a:cxn>
              <a:cxn ang="0">
                <a:pos x="84" y="1124"/>
              </a:cxn>
              <a:cxn ang="0">
                <a:pos x="42" y="1082"/>
              </a:cxn>
              <a:cxn ang="0">
                <a:pos x="55" y="948"/>
              </a:cxn>
              <a:cxn ang="0">
                <a:pos x="0" y="863"/>
              </a:cxn>
              <a:cxn ang="0">
                <a:pos x="6" y="798"/>
              </a:cxn>
              <a:cxn ang="0">
                <a:pos x="50" y="779"/>
              </a:cxn>
              <a:cxn ang="0">
                <a:pos x="94" y="754"/>
              </a:cxn>
              <a:cxn ang="0">
                <a:pos x="117" y="650"/>
              </a:cxn>
              <a:cxn ang="0">
                <a:pos x="117" y="600"/>
              </a:cxn>
              <a:cxn ang="0">
                <a:pos x="203" y="637"/>
              </a:cxn>
              <a:cxn ang="0">
                <a:pos x="253" y="650"/>
              </a:cxn>
              <a:cxn ang="0">
                <a:pos x="309" y="604"/>
              </a:cxn>
              <a:cxn ang="0">
                <a:pos x="299" y="541"/>
              </a:cxn>
              <a:cxn ang="0">
                <a:pos x="291" y="493"/>
              </a:cxn>
              <a:cxn ang="0">
                <a:pos x="347" y="435"/>
              </a:cxn>
              <a:cxn ang="0">
                <a:pos x="345" y="330"/>
              </a:cxn>
              <a:cxn ang="0">
                <a:pos x="364" y="194"/>
              </a:cxn>
              <a:cxn ang="0">
                <a:pos x="320" y="77"/>
              </a:cxn>
              <a:cxn ang="0">
                <a:pos x="364" y="25"/>
              </a:cxn>
              <a:cxn ang="0">
                <a:pos x="472" y="88"/>
              </a:cxn>
            </a:cxnLst>
            <a:rect l="0" t="0" r="r" b="b"/>
            <a:pathLst>
              <a:path w="1165" h="1124">
                <a:moveTo>
                  <a:pt x="577" y="213"/>
                </a:moveTo>
                <a:lnTo>
                  <a:pt x="712" y="316"/>
                </a:lnTo>
                <a:lnTo>
                  <a:pt x="743" y="334"/>
                </a:lnTo>
                <a:lnTo>
                  <a:pt x="754" y="351"/>
                </a:lnTo>
                <a:lnTo>
                  <a:pt x="815" y="349"/>
                </a:lnTo>
                <a:lnTo>
                  <a:pt x="831" y="376"/>
                </a:lnTo>
                <a:lnTo>
                  <a:pt x="839" y="376"/>
                </a:lnTo>
                <a:lnTo>
                  <a:pt x="850" y="355"/>
                </a:lnTo>
                <a:lnTo>
                  <a:pt x="867" y="376"/>
                </a:lnTo>
                <a:lnTo>
                  <a:pt x="890" y="391"/>
                </a:lnTo>
                <a:lnTo>
                  <a:pt x="950" y="397"/>
                </a:lnTo>
                <a:lnTo>
                  <a:pt x="1021" y="318"/>
                </a:lnTo>
                <a:lnTo>
                  <a:pt x="1052" y="278"/>
                </a:lnTo>
                <a:lnTo>
                  <a:pt x="1057" y="278"/>
                </a:lnTo>
                <a:lnTo>
                  <a:pt x="1065" y="295"/>
                </a:lnTo>
                <a:lnTo>
                  <a:pt x="1025" y="401"/>
                </a:lnTo>
                <a:lnTo>
                  <a:pt x="1032" y="455"/>
                </a:lnTo>
                <a:lnTo>
                  <a:pt x="1084" y="541"/>
                </a:lnTo>
                <a:lnTo>
                  <a:pt x="1078" y="554"/>
                </a:lnTo>
                <a:lnTo>
                  <a:pt x="1098" y="562"/>
                </a:lnTo>
                <a:lnTo>
                  <a:pt x="1117" y="550"/>
                </a:lnTo>
                <a:lnTo>
                  <a:pt x="1153" y="522"/>
                </a:lnTo>
                <a:lnTo>
                  <a:pt x="1165" y="524"/>
                </a:lnTo>
                <a:lnTo>
                  <a:pt x="1115" y="583"/>
                </a:lnTo>
                <a:lnTo>
                  <a:pt x="1057" y="597"/>
                </a:lnTo>
                <a:lnTo>
                  <a:pt x="1038" y="631"/>
                </a:lnTo>
                <a:lnTo>
                  <a:pt x="1007" y="648"/>
                </a:lnTo>
                <a:lnTo>
                  <a:pt x="979" y="641"/>
                </a:lnTo>
                <a:lnTo>
                  <a:pt x="969" y="664"/>
                </a:lnTo>
                <a:lnTo>
                  <a:pt x="902" y="660"/>
                </a:lnTo>
                <a:lnTo>
                  <a:pt x="890" y="648"/>
                </a:lnTo>
                <a:lnTo>
                  <a:pt x="835" y="671"/>
                </a:lnTo>
                <a:lnTo>
                  <a:pt x="750" y="763"/>
                </a:lnTo>
                <a:lnTo>
                  <a:pt x="702" y="869"/>
                </a:lnTo>
                <a:lnTo>
                  <a:pt x="695" y="946"/>
                </a:lnTo>
                <a:lnTo>
                  <a:pt x="679" y="946"/>
                </a:lnTo>
                <a:lnTo>
                  <a:pt x="627" y="905"/>
                </a:lnTo>
                <a:lnTo>
                  <a:pt x="543" y="875"/>
                </a:lnTo>
                <a:lnTo>
                  <a:pt x="424" y="800"/>
                </a:lnTo>
                <a:lnTo>
                  <a:pt x="387" y="783"/>
                </a:lnTo>
                <a:lnTo>
                  <a:pt x="328" y="800"/>
                </a:lnTo>
                <a:lnTo>
                  <a:pt x="242" y="873"/>
                </a:lnTo>
                <a:lnTo>
                  <a:pt x="232" y="873"/>
                </a:lnTo>
                <a:lnTo>
                  <a:pt x="184" y="811"/>
                </a:lnTo>
                <a:lnTo>
                  <a:pt x="138" y="808"/>
                </a:lnTo>
                <a:lnTo>
                  <a:pt x="101" y="846"/>
                </a:lnTo>
                <a:lnTo>
                  <a:pt x="96" y="888"/>
                </a:lnTo>
                <a:lnTo>
                  <a:pt x="153" y="936"/>
                </a:lnTo>
                <a:lnTo>
                  <a:pt x="184" y="934"/>
                </a:lnTo>
                <a:lnTo>
                  <a:pt x="249" y="994"/>
                </a:lnTo>
                <a:lnTo>
                  <a:pt x="272" y="1001"/>
                </a:lnTo>
                <a:lnTo>
                  <a:pt x="280" y="1007"/>
                </a:lnTo>
                <a:lnTo>
                  <a:pt x="242" y="1034"/>
                </a:lnTo>
                <a:lnTo>
                  <a:pt x="207" y="1023"/>
                </a:lnTo>
                <a:lnTo>
                  <a:pt x="190" y="1024"/>
                </a:lnTo>
                <a:lnTo>
                  <a:pt x="182" y="1007"/>
                </a:lnTo>
                <a:lnTo>
                  <a:pt x="132" y="1063"/>
                </a:lnTo>
                <a:lnTo>
                  <a:pt x="134" y="1080"/>
                </a:lnTo>
                <a:lnTo>
                  <a:pt x="96" y="1107"/>
                </a:lnTo>
                <a:lnTo>
                  <a:pt x="84" y="1124"/>
                </a:lnTo>
                <a:lnTo>
                  <a:pt x="67" y="1124"/>
                </a:lnTo>
                <a:lnTo>
                  <a:pt x="42" y="1082"/>
                </a:lnTo>
                <a:lnTo>
                  <a:pt x="67" y="978"/>
                </a:lnTo>
                <a:lnTo>
                  <a:pt x="55" y="948"/>
                </a:lnTo>
                <a:lnTo>
                  <a:pt x="0" y="905"/>
                </a:lnTo>
                <a:lnTo>
                  <a:pt x="0" y="863"/>
                </a:lnTo>
                <a:lnTo>
                  <a:pt x="11" y="813"/>
                </a:lnTo>
                <a:lnTo>
                  <a:pt x="6" y="798"/>
                </a:lnTo>
                <a:lnTo>
                  <a:pt x="21" y="783"/>
                </a:lnTo>
                <a:lnTo>
                  <a:pt x="50" y="779"/>
                </a:lnTo>
                <a:lnTo>
                  <a:pt x="73" y="750"/>
                </a:lnTo>
                <a:lnTo>
                  <a:pt x="94" y="754"/>
                </a:lnTo>
                <a:lnTo>
                  <a:pt x="136" y="691"/>
                </a:lnTo>
                <a:lnTo>
                  <a:pt x="117" y="650"/>
                </a:lnTo>
                <a:lnTo>
                  <a:pt x="96" y="625"/>
                </a:lnTo>
                <a:lnTo>
                  <a:pt x="117" y="600"/>
                </a:lnTo>
                <a:lnTo>
                  <a:pt x="132" y="597"/>
                </a:lnTo>
                <a:lnTo>
                  <a:pt x="203" y="637"/>
                </a:lnTo>
                <a:lnTo>
                  <a:pt x="224" y="631"/>
                </a:lnTo>
                <a:lnTo>
                  <a:pt x="253" y="650"/>
                </a:lnTo>
                <a:lnTo>
                  <a:pt x="291" y="635"/>
                </a:lnTo>
                <a:lnTo>
                  <a:pt x="309" y="604"/>
                </a:lnTo>
                <a:lnTo>
                  <a:pt x="305" y="556"/>
                </a:lnTo>
                <a:lnTo>
                  <a:pt x="299" y="541"/>
                </a:lnTo>
                <a:lnTo>
                  <a:pt x="299" y="514"/>
                </a:lnTo>
                <a:lnTo>
                  <a:pt x="291" y="493"/>
                </a:lnTo>
                <a:lnTo>
                  <a:pt x="320" y="464"/>
                </a:lnTo>
                <a:lnTo>
                  <a:pt x="347" y="435"/>
                </a:lnTo>
                <a:lnTo>
                  <a:pt x="353" y="366"/>
                </a:lnTo>
                <a:lnTo>
                  <a:pt x="345" y="330"/>
                </a:lnTo>
                <a:lnTo>
                  <a:pt x="368" y="272"/>
                </a:lnTo>
                <a:lnTo>
                  <a:pt x="364" y="194"/>
                </a:lnTo>
                <a:lnTo>
                  <a:pt x="334" y="105"/>
                </a:lnTo>
                <a:lnTo>
                  <a:pt x="320" y="77"/>
                </a:lnTo>
                <a:lnTo>
                  <a:pt x="336" y="25"/>
                </a:lnTo>
                <a:lnTo>
                  <a:pt x="364" y="25"/>
                </a:lnTo>
                <a:lnTo>
                  <a:pt x="384" y="0"/>
                </a:lnTo>
                <a:lnTo>
                  <a:pt x="472" y="88"/>
                </a:lnTo>
                <a:lnTo>
                  <a:pt x="577" y="21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64" name="Freeform 64"/>
          <p:cNvSpPr>
            <a:spLocks noChangeAspect="1"/>
          </p:cNvSpPr>
          <p:nvPr/>
        </p:nvSpPr>
        <p:spPr bwMode="gray">
          <a:xfrm>
            <a:off x="5548313" y="2765747"/>
            <a:ext cx="341312" cy="482600"/>
          </a:xfrm>
          <a:custGeom>
            <a:avLst/>
            <a:gdLst/>
            <a:ahLst/>
            <a:cxnLst>
              <a:cxn ang="0">
                <a:pos x="173" y="432"/>
              </a:cxn>
              <a:cxn ang="0">
                <a:pos x="186" y="413"/>
              </a:cxn>
              <a:cxn ang="0">
                <a:pos x="194" y="384"/>
              </a:cxn>
              <a:cxn ang="0">
                <a:pos x="234" y="342"/>
              </a:cxn>
              <a:cxn ang="0">
                <a:pos x="272" y="219"/>
              </a:cxn>
              <a:cxn ang="0">
                <a:pos x="255" y="198"/>
              </a:cxn>
              <a:cxn ang="0">
                <a:pos x="251" y="117"/>
              </a:cxn>
              <a:cxn ang="0">
                <a:pos x="219" y="75"/>
              </a:cxn>
              <a:cxn ang="0">
                <a:pos x="224" y="56"/>
              </a:cxn>
              <a:cxn ang="0">
                <a:pos x="194" y="0"/>
              </a:cxn>
              <a:cxn ang="0">
                <a:pos x="146" y="15"/>
              </a:cxn>
              <a:cxn ang="0">
                <a:pos x="65" y="58"/>
              </a:cxn>
              <a:cxn ang="0">
                <a:pos x="48" y="46"/>
              </a:cxn>
              <a:cxn ang="0">
                <a:pos x="34" y="75"/>
              </a:cxn>
              <a:cxn ang="0">
                <a:pos x="29" y="175"/>
              </a:cxn>
              <a:cxn ang="0">
                <a:pos x="19" y="242"/>
              </a:cxn>
              <a:cxn ang="0">
                <a:pos x="0" y="274"/>
              </a:cxn>
              <a:cxn ang="0">
                <a:pos x="0" y="288"/>
              </a:cxn>
              <a:cxn ang="0">
                <a:pos x="27" y="320"/>
              </a:cxn>
              <a:cxn ang="0">
                <a:pos x="27" y="363"/>
              </a:cxn>
              <a:cxn ang="0">
                <a:pos x="38" y="391"/>
              </a:cxn>
              <a:cxn ang="0">
                <a:pos x="84" y="413"/>
              </a:cxn>
              <a:cxn ang="0">
                <a:pos x="98" y="411"/>
              </a:cxn>
              <a:cxn ang="0">
                <a:pos x="117" y="439"/>
              </a:cxn>
              <a:cxn ang="0">
                <a:pos x="173" y="432"/>
              </a:cxn>
            </a:cxnLst>
            <a:rect l="0" t="0" r="r" b="b"/>
            <a:pathLst>
              <a:path w="272" h="439">
                <a:moveTo>
                  <a:pt x="173" y="432"/>
                </a:moveTo>
                <a:lnTo>
                  <a:pt x="186" y="413"/>
                </a:lnTo>
                <a:lnTo>
                  <a:pt x="194" y="384"/>
                </a:lnTo>
                <a:lnTo>
                  <a:pt x="234" y="342"/>
                </a:lnTo>
                <a:lnTo>
                  <a:pt x="272" y="219"/>
                </a:lnTo>
                <a:lnTo>
                  <a:pt x="255" y="198"/>
                </a:lnTo>
                <a:lnTo>
                  <a:pt x="251" y="117"/>
                </a:lnTo>
                <a:lnTo>
                  <a:pt x="219" y="75"/>
                </a:lnTo>
                <a:lnTo>
                  <a:pt x="224" y="56"/>
                </a:lnTo>
                <a:lnTo>
                  <a:pt x="194" y="0"/>
                </a:lnTo>
                <a:lnTo>
                  <a:pt x="146" y="15"/>
                </a:lnTo>
                <a:lnTo>
                  <a:pt x="65" y="58"/>
                </a:lnTo>
                <a:lnTo>
                  <a:pt x="48" y="46"/>
                </a:lnTo>
                <a:lnTo>
                  <a:pt x="34" y="75"/>
                </a:lnTo>
                <a:lnTo>
                  <a:pt x="29" y="175"/>
                </a:lnTo>
                <a:lnTo>
                  <a:pt x="19" y="242"/>
                </a:lnTo>
                <a:lnTo>
                  <a:pt x="0" y="274"/>
                </a:lnTo>
                <a:lnTo>
                  <a:pt x="0" y="288"/>
                </a:lnTo>
                <a:lnTo>
                  <a:pt x="27" y="320"/>
                </a:lnTo>
                <a:lnTo>
                  <a:pt x="27" y="363"/>
                </a:lnTo>
                <a:lnTo>
                  <a:pt x="38" y="391"/>
                </a:lnTo>
                <a:lnTo>
                  <a:pt x="84" y="413"/>
                </a:lnTo>
                <a:lnTo>
                  <a:pt x="98" y="411"/>
                </a:lnTo>
                <a:lnTo>
                  <a:pt x="117" y="439"/>
                </a:lnTo>
                <a:lnTo>
                  <a:pt x="173" y="432"/>
                </a:lnTo>
                <a:close/>
              </a:path>
            </a:pathLst>
          </a:custGeom>
          <a:solidFill>
            <a:schemeClr val="accent3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66" name="Line 65"/>
          <p:cNvSpPr>
            <a:spLocks noChangeAspect="1" noChangeShapeType="1"/>
          </p:cNvSpPr>
          <p:nvPr/>
        </p:nvSpPr>
        <p:spPr bwMode="gray">
          <a:xfrm>
            <a:off x="2157413" y="5664523"/>
            <a:ext cx="584200" cy="0"/>
          </a:xfrm>
          <a:prstGeom prst="line">
            <a:avLst/>
          </a:prstGeom>
          <a:noFill/>
          <a:ln w="3175">
            <a:solidFill>
              <a:srgbClr val="575757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2000" tIns="72000" rIns="72000" bIns="72000" anchor="ctr" anchorCtr="1"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67" name="Line 66"/>
          <p:cNvSpPr>
            <a:spLocks noChangeAspect="1" noChangeShapeType="1"/>
          </p:cNvSpPr>
          <p:nvPr/>
        </p:nvSpPr>
        <p:spPr bwMode="gray">
          <a:xfrm flipH="1">
            <a:off x="2743207" y="5664529"/>
            <a:ext cx="3175" cy="396875"/>
          </a:xfrm>
          <a:prstGeom prst="line">
            <a:avLst/>
          </a:prstGeom>
          <a:noFill/>
          <a:ln w="3175">
            <a:solidFill>
              <a:srgbClr val="575757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2000" tIns="72000" rIns="72000" bIns="72000" anchor="ctr" anchorCtr="1"/>
          <a:lstStyle/>
          <a:p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67" name="正方形/長方形 66"/>
          <p:cNvSpPr/>
          <p:nvPr/>
        </p:nvSpPr>
        <p:spPr>
          <a:xfrm>
            <a:off x="7514091" y="5623726"/>
            <a:ext cx="287337" cy="230187"/>
          </a:xfrm>
          <a:prstGeom prst="rect">
            <a:avLst/>
          </a:prstGeom>
          <a:solidFill>
            <a:schemeClr val="accent3"/>
          </a:solidFill>
          <a:ln w="8001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kumimoji="0" lang="ja-JP" altLang="en-US" sz="19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69" name="テキスト ボックス 67"/>
          <p:cNvSpPr txBox="1">
            <a:spLocks noChangeArrowheads="1"/>
          </p:cNvSpPr>
          <p:nvPr/>
        </p:nvSpPr>
        <p:spPr bwMode="auto">
          <a:xfrm>
            <a:off x="7698908" y="5609916"/>
            <a:ext cx="2190751" cy="699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2000" tIns="72000" rIns="72000" bIns="72000" anchor="ctr">
            <a:spAutoFit/>
          </a:bodyPr>
          <a:lstStyle>
            <a:lvl1pPr marL="85725" indent="-85725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 eaLnBrk="1" hangingPunct="1"/>
            <a:r>
              <a:rPr lang="ja-JP" altLang="en-US" sz="1200" dirty="0">
                <a:solidFill>
                  <a:srgbClr val="000000"/>
                </a:solidFill>
                <a:latin typeface="メイリオ" panose="020B0604030504040204" pitchFamily="50" charset="-128"/>
              </a:rPr>
              <a:t>： 補助事業により採択された</a:t>
            </a:r>
            <a:br>
              <a:rPr lang="en-US" altLang="ja-JP" sz="1200" dirty="0">
                <a:solidFill>
                  <a:srgbClr val="000000"/>
                </a:solidFill>
                <a:latin typeface="メイリオ" panose="020B0604030504040204" pitchFamily="50" charset="-128"/>
              </a:rPr>
            </a:br>
            <a:r>
              <a:rPr lang="en-US" altLang="ja-JP" sz="1200" dirty="0">
                <a:solidFill>
                  <a:srgbClr val="000000"/>
                </a:solidFill>
                <a:latin typeface="メイリオ" panose="020B0604030504040204" pitchFamily="50" charset="-128"/>
              </a:rPr>
              <a:t> </a:t>
            </a:r>
            <a:r>
              <a:rPr lang="ja-JP" altLang="en-US" sz="1200" dirty="0">
                <a:solidFill>
                  <a:srgbClr val="000000"/>
                </a:solidFill>
                <a:latin typeface="メイリオ" panose="020B0604030504040204" pitchFamily="50" charset="-128"/>
              </a:rPr>
              <a:t> 案件の所在地</a:t>
            </a:r>
            <a:br>
              <a:rPr lang="en-US" altLang="ja-JP" sz="1200" dirty="0">
                <a:solidFill>
                  <a:srgbClr val="000000"/>
                </a:solidFill>
                <a:latin typeface="メイリオ" panose="020B0604030504040204" pitchFamily="50" charset="-128"/>
              </a:rPr>
            </a:br>
            <a:r>
              <a:rPr lang="ja-JP" altLang="en-US" sz="1200" dirty="0">
                <a:solidFill>
                  <a:srgbClr val="000000"/>
                </a:solidFill>
                <a:latin typeface="メイリオ" panose="020B0604030504040204" pitchFamily="50" charset="-128"/>
              </a:rPr>
              <a:t>（</a:t>
            </a:r>
            <a:r>
              <a:rPr lang="en-US" altLang="ja-JP" sz="1200" dirty="0">
                <a:solidFill>
                  <a:srgbClr val="000000"/>
                </a:solidFill>
                <a:latin typeface="メイリオ" panose="020B0604030504040204" pitchFamily="50" charset="-128"/>
              </a:rPr>
              <a:t>2018</a:t>
            </a:r>
            <a:r>
              <a:rPr lang="ja-JP" altLang="en-US" sz="1200" dirty="0">
                <a:solidFill>
                  <a:srgbClr val="000000"/>
                </a:solidFill>
                <a:latin typeface="メイリオ" panose="020B0604030504040204" pitchFamily="50" charset="-128"/>
              </a:rPr>
              <a:t>年</a:t>
            </a:r>
            <a:r>
              <a:rPr lang="en-US" altLang="ja-JP" sz="1200" dirty="0">
                <a:solidFill>
                  <a:srgbClr val="000000"/>
                </a:solidFill>
                <a:latin typeface="メイリオ" panose="020B0604030504040204" pitchFamily="50" charset="-128"/>
              </a:rPr>
              <a:t>3</a:t>
            </a:r>
            <a:r>
              <a:rPr lang="ja-JP" altLang="en-US" sz="1200" dirty="0">
                <a:solidFill>
                  <a:srgbClr val="000000"/>
                </a:solidFill>
                <a:latin typeface="メイリオ" panose="020B0604030504040204" pitchFamily="50" charset="-128"/>
              </a:rPr>
              <a:t>月現在）</a:t>
            </a:r>
            <a:endParaRPr lang="en-US" altLang="ja-JP" sz="1200" dirty="0">
              <a:solidFill>
                <a:srgbClr val="000000"/>
              </a:solidFill>
              <a:latin typeface="メイリオ" panose="020B0604030504040204" pitchFamily="50" charset="-128"/>
            </a:endParaRPr>
          </a:p>
        </p:txBody>
      </p:sp>
      <p:cxnSp>
        <p:nvCxnSpPr>
          <p:cNvPr id="84" name="直線コネクタ 83"/>
          <p:cNvCxnSpPr>
            <a:stCxn id="109" idx="1"/>
          </p:cNvCxnSpPr>
          <p:nvPr/>
        </p:nvCxnSpPr>
        <p:spPr bwMode="gray">
          <a:xfrm flipH="1">
            <a:off x="5430846" y="3565853"/>
            <a:ext cx="2274887" cy="303213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71" name="正方形/長方形 73"/>
          <p:cNvSpPr>
            <a:spLocks noChangeArrowheads="1"/>
          </p:cNvSpPr>
          <p:nvPr/>
        </p:nvSpPr>
        <p:spPr bwMode="gray">
          <a:xfrm>
            <a:off x="196851" y="3330900"/>
            <a:ext cx="1943100" cy="3127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 algn="ctr" eaLnBrk="1" hangingPunct="1">
              <a:buFont typeface="Wingdings 2" panose="05020102010507070707" pitchFamily="18" charset="2"/>
              <a:buNone/>
            </a:pPr>
            <a:r>
              <a:rPr lang="ja-JP" altLang="en-US" sz="1200" b="1">
                <a:latin typeface="メイリオ" panose="020B0604030504040204" pitchFamily="50" charset="-128"/>
              </a:rPr>
              <a:t>徳島県</a:t>
            </a:r>
          </a:p>
        </p:txBody>
      </p:sp>
      <p:sp>
        <p:nvSpPr>
          <p:cNvPr id="21577" name="正方形/長方形 92"/>
          <p:cNvSpPr>
            <a:spLocks noChangeArrowheads="1"/>
          </p:cNvSpPr>
          <p:nvPr/>
        </p:nvSpPr>
        <p:spPr bwMode="gray">
          <a:xfrm>
            <a:off x="7705732" y="2233940"/>
            <a:ext cx="1889125" cy="3111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 algn="ctr" eaLnBrk="1" hangingPunct="1">
              <a:buFont typeface="Wingdings 2" panose="05020102010507070707" pitchFamily="18" charset="2"/>
              <a:buNone/>
            </a:pPr>
            <a:r>
              <a:rPr lang="ja-JP" altLang="en-US" sz="1200" b="1">
                <a:latin typeface="メイリオ" panose="020B0604030504040204" pitchFamily="50" charset="-128"/>
              </a:rPr>
              <a:t>宮城県</a:t>
            </a:r>
          </a:p>
        </p:txBody>
      </p:sp>
      <p:sp>
        <p:nvSpPr>
          <p:cNvPr id="21578" name="正方形/長方形 93"/>
          <p:cNvSpPr>
            <a:spLocks noChangeArrowheads="1"/>
          </p:cNvSpPr>
          <p:nvPr/>
        </p:nvSpPr>
        <p:spPr bwMode="gray">
          <a:xfrm>
            <a:off x="7705732" y="4192915"/>
            <a:ext cx="1889125" cy="3111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 algn="ctr" eaLnBrk="1" hangingPunct="1">
              <a:buFont typeface="Wingdings 2" panose="05020102010507070707" pitchFamily="18" charset="2"/>
              <a:buNone/>
            </a:pPr>
            <a:r>
              <a:rPr lang="ja-JP" altLang="en-US" sz="1200" b="1">
                <a:latin typeface="メイリオ" panose="020B0604030504040204" pitchFamily="50" charset="-128"/>
              </a:rPr>
              <a:t>埼玉県</a:t>
            </a:r>
          </a:p>
        </p:txBody>
      </p:sp>
      <p:sp>
        <p:nvSpPr>
          <p:cNvPr id="21579" name="正方形/長方形 94"/>
          <p:cNvSpPr>
            <a:spLocks noChangeArrowheads="1"/>
          </p:cNvSpPr>
          <p:nvPr/>
        </p:nvSpPr>
        <p:spPr bwMode="gray">
          <a:xfrm>
            <a:off x="200030" y="4192887"/>
            <a:ext cx="1939925" cy="3127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 algn="ctr" eaLnBrk="1" hangingPunct="1">
              <a:buFont typeface="Wingdings 2" panose="05020102010507070707" pitchFamily="18" charset="2"/>
              <a:buNone/>
            </a:pPr>
            <a:r>
              <a:rPr lang="ja-JP" altLang="en-US" sz="1200" b="1">
                <a:latin typeface="メイリオ" panose="020B0604030504040204" pitchFamily="50" charset="-128"/>
              </a:rPr>
              <a:t>熊本県</a:t>
            </a:r>
          </a:p>
        </p:txBody>
      </p:sp>
      <p:sp>
        <p:nvSpPr>
          <p:cNvPr id="96" name="正方形/長方形 95"/>
          <p:cNvSpPr/>
          <p:nvPr/>
        </p:nvSpPr>
        <p:spPr bwMode="gray">
          <a:xfrm>
            <a:off x="196856" y="1913264"/>
            <a:ext cx="1943099" cy="3111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eaLnBrk="1" hangingPunct="1">
              <a:buFont typeface="Wingdings 2" pitchFamily="18" charset="2"/>
              <a:buNone/>
              <a:defRPr/>
            </a:pPr>
            <a:r>
              <a:rPr lang="ja-JP" altLang="en-US" sz="1200" b="1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神戸市</a:t>
            </a:r>
          </a:p>
        </p:txBody>
      </p:sp>
      <p:sp>
        <p:nvSpPr>
          <p:cNvPr id="21582" name="正方形/長方形 97"/>
          <p:cNvSpPr>
            <a:spLocks noChangeArrowheads="1"/>
          </p:cNvSpPr>
          <p:nvPr/>
        </p:nvSpPr>
        <p:spPr bwMode="gray">
          <a:xfrm>
            <a:off x="196851" y="2386338"/>
            <a:ext cx="1943100" cy="3111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 algn="ctr" eaLnBrk="1" hangingPunct="1">
              <a:buFont typeface="Wingdings 2" panose="05020102010507070707" pitchFamily="18" charset="2"/>
              <a:buNone/>
            </a:pPr>
            <a:r>
              <a:rPr lang="ja-JP" altLang="en-US" sz="1200" b="1" dirty="0">
                <a:latin typeface="メイリオ" panose="020B0604030504040204" pitchFamily="50" charset="-128"/>
              </a:rPr>
              <a:t>（株）鳥取ガス・鳥取県</a:t>
            </a:r>
          </a:p>
        </p:txBody>
      </p:sp>
      <p:sp>
        <p:nvSpPr>
          <p:cNvPr id="99" name="正方形/長方形 98"/>
          <p:cNvSpPr/>
          <p:nvPr/>
        </p:nvSpPr>
        <p:spPr bwMode="gray">
          <a:xfrm>
            <a:off x="196855" y="1440189"/>
            <a:ext cx="1936749" cy="3111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accent4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eaLnBrk="1" hangingPunct="1">
              <a:buFont typeface="Wingdings 2" pitchFamily="18" charset="2"/>
              <a:buNone/>
              <a:defRPr/>
            </a:pPr>
            <a:r>
              <a:rPr lang="ja-JP" altLang="en-US" sz="1200" b="1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京都市</a:t>
            </a:r>
          </a:p>
        </p:txBody>
      </p:sp>
      <p:sp>
        <p:nvSpPr>
          <p:cNvPr id="100" name="正方形/長方形 99"/>
          <p:cNvSpPr/>
          <p:nvPr/>
        </p:nvSpPr>
        <p:spPr bwMode="gray">
          <a:xfrm>
            <a:off x="196856" y="2849891"/>
            <a:ext cx="1943099" cy="3127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accent4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eaLnBrk="1" hangingPunct="1">
              <a:buFont typeface="Wingdings 2" pitchFamily="18" charset="2"/>
              <a:buNone/>
              <a:defRPr/>
            </a:pPr>
            <a:r>
              <a:rPr lang="ja-JP" altLang="en-US" sz="1200" b="1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倉敷市</a:t>
            </a:r>
          </a:p>
        </p:txBody>
      </p:sp>
      <p:sp>
        <p:nvSpPr>
          <p:cNvPr id="21586" name="正方形/長方形 101"/>
          <p:cNvSpPr>
            <a:spLocks noChangeArrowheads="1"/>
          </p:cNvSpPr>
          <p:nvPr/>
        </p:nvSpPr>
        <p:spPr bwMode="gray">
          <a:xfrm>
            <a:off x="5259389" y="5737552"/>
            <a:ext cx="2055812" cy="3111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 algn="ctr" eaLnBrk="1" hangingPunct="1">
              <a:buFont typeface="Wingdings 2" panose="05020102010507070707" pitchFamily="18" charset="2"/>
              <a:buNone/>
            </a:pPr>
            <a:r>
              <a:rPr lang="ja-JP" altLang="en-US" sz="1100" b="1" dirty="0">
                <a:latin typeface="メイリオ" panose="020B0604030504040204" pitchFamily="50" charset="-128"/>
              </a:rPr>
              <a:t>（株）鈴木商館</a:t>
            </a:r>
            <a:r>
              <a:rPr lang="ja-JP" altLang="en-US" sz="900" b="1" dirty="0">
                <a:latin typeface="メイリオ" panose="020B0604030504040204" pitchFamily="50" charset="-128"/>
              </a:rPr>
              <a:t>（中部国際空港）</a:t>
            </a:r>
            <a:endParaRPr lang="ja-JP" altLang="en-US" sz="900" b="1" baseline="30000" dirty="0">
              <a:latin typeface="メイリオ" panose="020B0604030504040204" pitchFamily="50" charset="-128"/>
            </a:endParaRPr>
          </a:p>
        </p:txBody>
      </p:sp>
      <p:sp>
        <p:nvSpPr>
          <p:cNvPr id="103" name="正方形/長方形 102"/>
          <p:cNvSpPr/>
          <p:nvPr/>
        </p:nvSpPr>
        <p:spPr bwMode="gray">
          <a:xfrm>
            <a:off x="7705732" y="2626052"/>
            <a:ext cx="1889125" cy="3111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accent4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eaLnBrk="1" hangingPunct="1">
              <a:buFont typeface="Wingdings 2" pitchFamily="18" charset="2"/>
              <a:buNone/>
              <a:defRPr/>
            </a:pPr>
            <a:r>
              <a:rPr lang="ja-JP" altLang="en-US" sz="1200" b="1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郡山市</a:t>
            </a:r>
            <a:endParaRPr lang="en-US" altLang="ja-JP" sz="1200" b="1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04" name="正方形/長方形 103"/>
          <p:cNvSpPr/>
          <p:nvPr/>
        </p:nvSpPr>
        <p:spPr bwMode="gray">
          <a:xfrm>
            <a:off x="7705732" y="3800802"/>
            <a:ext cx="1889125" cy="3127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accent4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eaLnBrk="1" hangingPunct="1">
              <a:buFont typeface="Wingdings 2" pitchFamily="18" charset="2"/>
              <a:buNone/>
              <a:defRPr/>
            </a:pPr>
            <a:r>
              <a:rPr lang="ja-JP" altLang="en-US" sz="1200" b="1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境町</a:t>
            </a:r>
            <a:endParaRPr lang="en-US" altLang="ja-JP" sz="1200" b="1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89" name="正方形/長方形 104"/>
          <p:cNvSpPr>
            <a:spLocks noChangeArrowheads="1"/>
          </p:cNvSpPr>
          <p:nvPr/>
        </p:nvSpPr>
        <p:spPr bwMode="gray">
          <a:xfrm>
            <a:off x="200030" y="4665962"/>
            <a:ext cx="1939925" cy="3127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 algn="ctr" eaLnBrk="1" hangingPunct="1">
              <a:buFont typeface="Wingdings 2" panose="05020102010507070707" pitchFamily="18" charset="2"/>
              <a:buNone/>
            </a:pPr>
            <a:r>
              <a:rPr lang="ja-JP" altLang="en-US" sz="1200" b="1">
                <a:latin typeface="メイリオ" panose="020B0604030504040204" pitchFamily="50" charset="-128"/>
              </a:rPr>
              <a:t>宮古空港ターミナル（株）</a:t>
            </a:r>
            <a:endParaRPr lang="en-US" altLang="ja-JP" sz="1200" b="1">
              <a:latin typeface="メイリオ" panose="020B0604030504040204" pitchFamily="50" charset="-128"/>
            </a:endParaRPr>
          </a:p>
        </p:txBody>
      </p:sp>
      <p:sp>
        <p:nvSpPr>
          <p:cNvPr id="106" name="正方形/長方形 105"/>
          <p:cNvSpPr/>
          <p:nvPr/>
        </p:nvSpPr>
        <p:spPr bwMode="gray">
          <a:xfrm>
            <a:off x="7705732" y="3018166"/>
            <a:ext cx="1889125" cy="3111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eaLnBrk="1" hangingPunct="1">
              <a:buFont typeface="Wingdings 2" pitchFamily="18" charset="2"/>
              <a:buNone/>
              <a:defRPr/>
            </a:pPr>
            <a:r>
              <a:rPr lang="ja-JP" altLang="en-US" sz="900" b="1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相馬ガスホールディングス（株）</a:t>
            </a:r>
            <a:endParaRPr lang="en-US" altLang="ja-JP" sz="900" b="1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07" name="正方形/長方形 106"/>
          <p:cNvSpPr/>
          <p:nvPr/>
        </p:nvSpPr>
        <p:spPr bwMode="gray">
          <a:xfrm>
            <a:off x="7705732" y="1389391"/>
            <a:ext cx="1889125" cy="3730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eaLnBrk="1" hangingPunct="1">
              <a:buFont typeface="Wingdings 2" pitchFamily="18" charset="2"/>
              <a:buNone/>
              <a:defRPr/>
            </a:pPr>
            <a:r>
              <a:rPr lang="ja-JP" altLang="en-US" sz="1051" b="1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三沢市ソーラーメンテナンス事業協同組合</a:t>
            </a:r>
            <a:endParaRPr lang="en-US" altLang="ja-JP" sz="1200" b="1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92" name="正方形/長方形 107"/>
          <p:cNvSpPr>
            <a:spLocks noChangeArrowheads="1"/>
          </p:cNvSpPr>
          <p:nvPr/>
        </p:nvSpPr>
        <p:spPr bwMode="gray">
          <a:xfrm>
            <a:off x="7705732" y="4585027"/>
            <a:ext cx="1889125" cy="3111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 algn="ctr" eaLnBrk="1" hangingPunct="1">
              <a:buFont typeface="Wingdings 2" panose="05020102010507070707" pitchFamily="18" charset="2"/>
              <a:buNone/>
            </a:pPr>
            <a:r>
              <a:rPr lang="ja-JP" altLang="en-US" sz="1200" b="1">
                <a:latin typeface="メイリオ" panose="020B0604030504040204" pitchFamily="50" charset="-128"/>
              </a:rPr>
              <a:t>神奈川県</a:t>
            </a:r>
            <a:endParaRPr lang="en-US" altLang="ja-JP" sz="1200" b="1">
              <a:latin typeface="メイリオ" panose="020B0604030504040204" pitchFamily="50" charset="-128"/>
            </a:endParaRPr>
          </a:p>
        </p:txBody>
      </p:sp>
      <p:sp>
        <p:nvSpPr>
          <p:cNvPr id="109" name="正方形/長方形 108"/>
          <p:cNvSpPr/>
          <p:nvPr/>
        </p:nvSpPr>
        <p:spPr bwMode="gray">
          <a:xfrm>
            <a:off x="7705732" y="3408693"/>
            <a:ext cx="1889125" cy="3127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eaLnBrk="1" hangingPunct="1">
              <a:buFont typeface="Wingdings 2" pitchFamily="18" charset="2"/>
              <a:buNone/>
              <a:defRPr/>
            </a:pPr>
            <a:r>
              <a:rPr lang="ja-JP" altLang="en-US" sz="900" b="1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ホンダエンジニアリング（株）</a:t>
            </a:r>
            <a:endParaRPr lang="en-US" altLang="ja-JP" sz="900" b="1" baseline="300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594" name="正方形/長方形 109"/>
          <p:cNvSpPr>
            <a:spLocks noChangeArrowheads="1"/>
          </p:cNvSpPr>
          <p:nvPr/>
        </p:nvSpPr>
        <p:spPr bwMode="gray">
          <a:xfrm>
            <a:off x="5259388" y="5326393"/>
            <a:ext cx="2067048" cy="3127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 algn="ctr" eaLnBrk="1" hangingPunct="1">
              <a:buFont typeface="Wingdings 2" panose="05020102010507070707" pitchFamily="18" charset="2"/>
              <a:buNone/>
            </a:pPr>
            <a:r>
              <a:rPr lang="ja-JP" altLang="en-US" sz="1100" b="1" dirty="0">
                <a:latin typeface="メイリオ" panose="020B0604030504040204" pitchFamily="50" charset="-128"/>
              </a:rPr>
              <a:t>（株）鈴木商館</a:t>
            </a:r>
            <a:r>
              <a:rPr lang="ja-JP" altLang="en-US" sz="900" b="1" dirty="0">
                <a:latin typeface="メイリオ" panose="020B0604030504040204" pitchFamily="50" charset="-128"/>
              </a:rPr>
              <a:t>（豊田事業所）</a:t>
            </a:r>
          </a:p>
        </p:txBody>
      </p:sp>
      <p:cxnSp>
        <p:nvCxnSpPr>
          <p:cNvPr id="120" name="直線コネクタ 119"/>
          <p:cNvCxnSpPr>
            <a:stCxn id="21589" idx="3"/>
          </p:cNvCxnSpPr>
          <p:nvPr/>
        </p:nvCxnSpPr>
        <p:spPr bwMode="gray">
          <a:xfrm>
            <a:off x="2139958" y="4822329"/>
            <a:ext cx="285751" cy="1046188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直線コネクタ 120"/>
          <p:cNvCxnSpPr>
            <a:stCxn id="21579" idx="3"/>
          </p:cNvCxnSpPr>
          <p:nvPr/>
        </p:nvCxnSpPr>
        <p:spPr bwMode="gray">
          <a:xfrm>
            <a:off x="2139951" y="4349254"/>
            <a:ext cx="718344" cy="734244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直線コネクタ 121"/>
          <p:cNvCxnSpPr>
            <a:stCxn id="104" idx="1"/>
          </p:cNvCxnSpPr>
          <p:nvPr/>
        </p:nvCxnSpPr>
        <p:spPr bwMode="gray">
          <a:xfrm flipH="1">
            <a:off x="5508626" y="3956378"/>
            <a:ext cx="2197100" cy="82551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直線コネクタ 122"/>
          <p:cNvCxnSpPr>
            <a:stCxn id="96" idx="3"/>
          </p:cNvCxnSpPr>
          <p:nvPr/>
        </p:nvCxnSpPr>
        <p:spPr bwMode="gray">
          <a:xfrm>
            <a:off x="2139957" y="2068843"/>
            <a:ext cx="1858963" cy="2274887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直線コネクタ 123"/>
          <p:cNvCxnSpPr>
            <a:stCxn id="21594" idx="1"/>
          </p:cNvCxnSpPr>
          <p:nvPr/>
        </p:nvCxnSpPr>
        <p:spPr bwMode="gray">
          <a:xfrm flipH="1" flipV="1">
            <a:off x="4652964" y="4402466"/>
            <a:ext cx="606424" cy="1080295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直線コネクタ 124"/>
          <p:cNvCxnSpPr>
            <a:stCxn id="21577" idx="1"/>
          </p:cNvCxnSpPr>
          <p:nvPr/>
        </p:nvCxnSpPr>
        <p:spPr bwMode="gray">
          <a:xfrm flipH="1">
            <a:off x="5607057" y="2389518"/>
            <a:ext cx="2098675" cy="947737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直線コネクタ 125"/>
          <p:cNvCxnSpPr>
            <a:stCxn id="103" idx="1"/>
          </p:cNvCxnSpPr>
          <p:nvPr/>
        </p:nvCxnSpPr>
        <p:spPr bwMode="gray">
          <a:xfrm flipH="1">
            <a:off x="5492758" y="2781629"/>
            <a:ext cx="2212975" cy="842963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直線コネクタ 126"/>
          <p:cNvCxnSpPr>
            <a:stCxn id="106" idx="1"/>
          </p:cNvCxnSpPr>
          <p:nvPr/>
        </p:nvCxnSpPr>
        <p:spPr bwMode="gray">
          <a:xfrm flipH="1">
            <a:off x="5484813" y="3173735"/>
            <a:ext cx="2220912" cy="468312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直線コネクタ 127"/>
          <p:cNvCxnSpPr>
            <a:stCxn id="21571" idx="3"/>
          </p:cNvCxnSpPr>
          <p:nvPr/>
        </p:nvCxnSpPr>
        <p:spPr bwMode="gray">
          <a:xfrm>
            <a:off x="2139956" y="3487274"/>
            <a:ext cx="1704975" cy="1215231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直線コネクタ 128"/>
          <p:cNvCxnSpPr>
            <a:stCxn id="100" idx="3"/>
          </p:cNvCxnSpPr>
          <p:nvPr/>
        </p:nvCxnSpPr>
        <p:spPr bwMode="gray">
          <a:xfrm>
            <a:off x="2139958" y="3006261"/>
            <a:ext cx="1592263" cy="1399381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直線コネクタ 129"/>
          <p:cNvCxnSpPr>
            <a:stCxn id="99" idx="3"/>
          </p:cNvCxnSpPr>
          <p:nvPr/>
        </p:nvCxnSpPr>
        <p:spPr bwMode="gray">
          <a:xfrm>
            <a:off x="2133600" y="1595767"/>
            <a:ext cx="2082800" cy="2713037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直線コネクタ 130"/>
          <p:cNvCxnSpPr>
            <a:stCxn id="21582" idx="3"/>
          </p:cNvCxnSpPr>
          <p:nvPr/>
        </p:nvCxnSpPr>
        <p:spPr bwMode="gray">
          <a:xfrm>
            <a:off x="2139958" y="2541917"/>
            <a:ext cx="1638299" cy="1685925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直線コネクタ 131"/>
          <p:cNvCxnSpPr>
            <a:stCxn id="21586" idx="1"/>
          </p:cNvCxnSpPr>
          <p:nvPr/>
        </p:nvCxnSpPr>
        <p:spPr bwMode="gray">
          <a:xfrm flipH="1" flipV="1">
            <a:off x="4659318" y="4394523"/>
            <a:ext cx="600075" cy="1498600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直線コネクタ 132"/>
          <p:cNvCxnSpPr>
            <a:stCxn id="21578" idx="1"/>
          </p:cNvCxnSpPr>
          <p:nvPr/>
        </p:nvCxnSpPr>
        <p:spPr bwMode="gray">
          <a:xfrm flipH="1" flipV="1">
            <a:off x="5253046" y="4089729"/>
            <a:ext cx="2452687" cy="258763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直線コネクタ 133"/>
          <p:cNvCxnSpPr>
            <a:stCxn id="21581" idx="0"/>
          </p:cNvCxnSpPr>
          <p:nvPr/>
        </p:nvCxnSpPr>
        <p:spPr bwMode="gray">
          <a:xfrm flipV="1">
            <a:off x="4046546" y="4521525"/>
            <a:ext cx="417513" cy="666748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直線コネクタ 134"/>
          <p:cNvCxnSpPr>
            <a:stCxn id="21592" idx="1"/>
          </p:cNvCxnSpPr>
          <p:nvPr/>
        </p:nvCxnSpPr>
        <p:spPr bwMode="gray">
          <a:xfrm flipH="1" flipV="1">
            <a:off x="5253046" y="4234186"/>
            <a:ext cx="2452687" cy="506412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直線コネクタ 135"/>
          <p:cNvCxnSpPr>
            <a:stCxn id="107" idx="1"/>
          </p:cNvCxnSpPr>
          <p:nvPr/>
        </p:nvCxnSpPr>
        <p:spPr bwMode="gray">
          <a:xfrm flipH="1">
            <a:off x="5607056" y="1575922"/>
            <a:ext cx="2098675" cy="1126331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直線コネクタ 162"/>
          <p:cNvCxnSpPr>
            <a:stCxn id="101" idx="0"/>
          </p:cNvCxnSpPr>
          <p:nvPr/>
        </p:nvCxnSpPr>
        <p:spPr bwMode="gray">
          <a:xfrm flipV="1">
            <a:off x="4046545" y="4537404"/>
            <a:ext cx="415925" cy="1192213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直線コネクタ 140"/>
          <p:cNvCxnSpPr>
            <a:stCxn id="21614" idx="1"/>
          </p:cNvCxnSpPr>
          <p:nvPr/>
        </p:nvCxnSpPr>
        <p:spPr bwMode="gray">
          <a:xfrm flipH="1" flipV="1">
            <a:off x="4672019" y="4396115"/>
            <a:ext cx="587375" cy="627063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16" name="正方形/長方形 141"/>
          <p:cNvSpPr>
            <a:spLocks noChangeArrowheads="1"/>
          </p:cNvSpPr>
          <p:nvPr/>
        </p:nvSpPr>
        <p:spPr bwMode="gray">
          <a:xfrm>
            <a:off x="7705732" y="4977140"/>
            <a:ext cx="1889125" cy="3111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 algn="ctr" eaLnBrk="1" hangingPunct="1">
              <a:buFont typeface="Wingdings 2" panose="05020102010507070707" pitchFamily="18" charset="2"/>
              <a:buNone/>
            </a:pPr>
            <a:r>
              <a:rPr lang="ja-JP" altLang="en-US" sz="1200" b="1" dirty="0">
                <a:latin typeface="メイリオ" panose="020B0604030504040204" pitchFamily="50" charset="-128"/>
              </a:rPr>
              <a:t>（株）タツノ</a:t>
            </a:r>
            <a:endParaRPr lang="en-US" altLang="ja-JP" sz="1200" b="1" baseline="30000" dirty="0">
              <a:latin typeface="メイリオ" panose="020B0604030504040204" pitchFamily="50" charset="-128"/>
            </a:endParaRPr>
          </a:p>
        </p:txBody>
      </p:sp>
      <p:sp>
        <p:nvSpPr>
          <p:cNvPr id="21617" name="正方形/長方形 142"/>
          <p:cNvSpPr>
            <a:spLocks noChangeArrowheads="1"/>
          </p:cNvSpPr>
          <p:nvPr/>
        </p:nvSpPr>
        <p:spPr bwMode="gray">
          <a:xfrm>
            <a:off x="7705732" y="1841826"/>
            <a:ext cx="1889125" cy="3127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 algn="ctr" eaLnBrk="1" hangingPunct="1">
              <a:buFont typeface="Wingdings 2" panose="05020102010507070707" pitchFamily="18" charset="2"/>
              <a:buNone/>
            </a:pPr>
            <a:r>
              <a:rPr kumimoji="0" lang="ja-JP" altLang="en-US" sz="1051" b="1" dirty="0">
                <a:latin typeface="メイリオ" panose="020B0604030504040204" pitchFamily="50" charset="-128"/>
              </a:rPr>
              <a:t>けせんプレカット</a:t>
            </a:r>
            <a:endParaRPr kumimoji="0" lang="en-US" altLang="ja-JP" sz="1051" b="1" dirty="0">
              <a:latin typeface="メイリオ" panose="020B0604030504040204" pitchFamily="50" charset="-128"/>
            </a:endParaRPr>
          </a:p>
          <a:p>
            <a:pPr algn="ctr" eaLnBrk="1" hangingPunct="1">
              <a:buFont typeface="Wingdings 2" panose="05020102010507070707" pitchFamily="18" charset="2"/>
              <a:buNone/>
            </a:pPr>
            <a:r>
              <a:rPr kumimoji="0" lang="ja-JP" altLang="en-US" sz="1051" b="1" dirty="0">
                <a:latin typeface="メイリオ" panose="020B0604030504040204" pitchFamily="50" charset="-128"/>
              </a:rPr>
              <a:t>事業協同組合</a:t>
            </a:r>
            <a:endParaRPr lang="en-US" altLang="ja-JP" sz="1051" b="1" baseline="30000" dirty="0">
              <a:latin typeface="メイリオ" panose="020B0604030504040204" pitchFamily="50" charset="-128"/>
            </a:endParaRPr>
          </a:p>
        </p:txBody>
      </p:sp>
      <p:cxnSp>
        <p:nvCxnSpPr>
          <p:cNvPr id="144" name="直線コネクタ 143"/>
          <p:cNvCxnSpPr>
            <a:stCxn id="21617" idx="1"/>
          </p:cNvCxnSpPr>
          <p:nvPr/>
        </p:nvCxnSpPr>
        <p:spPr bwMode="gray">
          <a:xfrm flipH="1">
            <a:off x="5729295" y="1997398"/>
            <a:ext cx="1976437" cy="1028700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直線コネクタ 144"/>
          <p:cNvCxnSpPr>
            <a:stCxn id="21616" idx="1"/>
          </p:cNvCxnSpPr>
          <p:nvPr/>
        </p:nvCxnSpPr>
        <p:spPr bwMode="gray">
          <a:xfrm flipH="1" flipV="1">
            <a:off x="5262568" y="4231011"/>
            <a:ext cx="2443163" cy="901700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14" name="正方形/長方形 136"/>
          <p:cNvSpPr>
            <a:spLocks noChangeArrowheads="1"/>
          </p:cNvSpPr>
          <p:nvPr/>
        </p:nvSpPr>
        <p:spPr bwMode="gray">
          <a:xfrm>
            <a:off x="5259388" y="4867603"/>
            <a:ext cx="2067048" cy="3111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 algn="ctr" eaLnBrk="1" hangingPunct="1">
              <a:buFont typeface="Wingdings 2" panose="05020102010507070707" pitchFamily="18" charset="2"/>
              <a:buNone/>
            </a:pPr>
            <a:r>
              <a:rPr lang="ja-JP" altLang="en-US" sz="1200" b="1" dirty="0">
                <a:latin typeface="メイリオ" panose="020B0604030504040204" pitchFamily="50" charset="-128"/>
              </a:rPr>
              <a:t>（株）豊田自動織機</a:t>
            </a:r>
            <a:endParaRPr lang="en-US" altLang="ja-JP" sz="1200" b="1" baseline="30000" dirty="0">
              <a:latin typeface="メイリオ" panose="020B0604030504040204" pitchFamily="50" charset="-128"/>
            </a:endParaRPr>
          </a:p>
        </p:txBody>
      </p:sp>
      <p:sp>
        <p:nvSpPr>
          <p:cNvPr id="21581" name="正方形/長方形 96"/>
          <p:cNvSpPr>
            <a:spLocks noChangeArrowheads="1"/>
          </p:cNvSpPr>
          <p:nvPr/>
        </p:nvSpPr>
        <p:spPr bwMode="gray">
          <a:xfrm>
            <a:off x="3187706" y="5188273"/>
            <a:ext cx="1717675" cy="3429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 algn="ctr" eaLnBrk="1" hangingPunct="1">
              <a:buFont typeface="Wingdings 2" panose="05020102010507070707" pitchFamily="18" charset="2"/>
              <a:buNone/>
            </a:pPr>
            <a:r>
              <a:rPr lang="ja-JP" altLang="en-US" sz="1200" b="1" dirty="0">
                <a:latin typeface="メイリオ" panose="020B0604030504040204" pitchFamily="50" charset="-128"/>
              </a:rPr>
              <a:t>本田技研工業（株）</a:t>
            </a:r>
            <a:endParaRPr lang="en-US" altLang="ja-JP" sz="1200" b="1" dirty="0">
              <a:latin typeface="メイリオ" panose="020B0604030504040204" pitchFamily="50" charset="-128"/>
            </a:endParaRPr>
          </a:p>
          <a:p>
            <a:pPr algn="ctr" eaLnBrk="1" hangingPunct="1">
              <a:buFont typeface="Wingdings 2" panose="05020102010507070707" pitchFamily="18" charset="2"/>
              <a:buNone/>
            </a:pPr>
            <a:r>
              <a:rPr lang="ja-JP" altLang="en-US" sz="900" b="1" dirty="0">
                <a:latin typeface="メイリオ" panose="020B0604030504040204" pitchFamily="50" charset="-128"/>
              </a:rPr>
              <a:t>（鈴鹿サーキット内）</a:t>
            </a:r>
          </a:p>
        </p:txBody>
      </p:sp>
      <p:sp>
        <p:nvSpPr>
          <p:cNvPr id="101" name="正方形/長方形 100"/>
          <p:cNvSpPr/>
          <p:nvPr/>
        </p:nvSpPr>
        <p:spPr bwMode="gray">
          <a:xfrm>
            <a:off x="3187706" y="5729615"/>
            <a:ext cx="1717675" cy="3111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accent4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eaLnBrk="1" hangingPunct="1">
              <a:buFont typeface="Wingdings 2" pitchFamily="18" charset="2"/>
              <a:buNone/>
              <a:defRPr/>
            </a:pPr>
            <a:r>
              <a:rPr lang="ja-JP" altLang="en-US" sz="1200" b="1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鈴鹿市</a:t>
            </a:r>
          </a:p>
        </p:txBody>
      </p:sp>
      <p:sp>
        <p:nvSpPr>
          <p:cNvPr id="142" name="テキスト ボックス 141"/>
          <p:cNvSpPr txBox="1"/>
          <p:nvPr/>
        </p:nvSpPr>
        <p:spPr>
          <a:xfrm>
            <a:off x="9217025" y="6525344"/>
            <a:ext cx="6309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solidFill>
                  <a:prstClr val="white">
                    <a:lumMod val="50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4</a:t>
            </a:r>
            <a:endParaRPr lang="ja-JP" altLang="en-US" b="1" dirty="0">
              <a:solidFill>
                <a:prstClr val="white">
                  <a:lumMod val="50000"/>
                </a:prstClr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17" name="正方形/長方形 104"/>
          <p:cNvSpPr>
            <a:spLocks noChangeArrowheads="1"/>
          </p:cNvSpPr>
          <p:nvPr/>
        </p:nvSpPr>
        <p:spPr bwMode="gray">
          <a:xfrm>
            <a:off x="197422" y="3749180"/>
            <a:ext cx="1939925" cy="3127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 algn="ctr" eaLnBrk="1" hangingPunct="1">
              <a:buFont typeface="Wingdings 2" panose="05020102010507070707" pitchFamily="18" charset="2"/>
              <a:buNone/>
            </a:pPr>
            <a:r>
              <a:rPr lang="ja-JP" altLang="en-US" sz="1200" b="1" dirty="0">
                <a:latin typeface="メイリオ" panose="020B0604030504040204" pitchFamily="50" charset="-128"/>
              </a:rPr>
              <a:t>徳島空港ビル（株）</a:t>
            </a:r>
            <a:endParaRPr lang="en-US" altLang="ja-JP" sz="1200" b="1" dirty="0">
              <a:latin typeface="メイリオ" panose="020B0604030504040204" pitchFamily="50" charset="-128"/>
            </a:endParaRPr>
          </a:p>
        </p:txBody>
      </p:sp>
      <p:cxnSp>
        <p:nvCxnSpPr>
          <p:cNvPr id="137" name="直線コネクタ 136"/>
          <p:cNvCxnSpPr>
            <a:stCxn id="117" idx="3"/>
          </p:cNvCxnSpPr>
          <p:nvPr/>
        </p:nvCxnSpPr>
        <p:spPr bwMode="gray">
          <a:xfrm>
            <a:off x="2137349" y="3905554"/>
            <a:ext cx="1707867" cy="798537"/>
          </a:xfrm>
          <a:prstGeom prst="line">
            <a:avLst/>
          </a:prstGeom>
          <a:ln w="127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30750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328147" y="818731"/>
            <a:ext cx="3456384" cy="432048"/>
          </a:xfrm>
        </p:spPr>
        <p:txBody>
          <a:bodyPr/>
          <a:lstStyle/>
          <a:p>
            <a:r>
              <a:rPr lang="ja-JP" altLang="en-US" sz="2400" u="sng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宮城県</a:t>
            </a:r>
          </a:p>
        </p:txBody>
      </p:sp>
      <p:sp>
        <p:nvSpPr>
          <p:cNvPr id="9" name="タイトル 3"/>
          <p:cNvSpPr txBox="1">
            <a:spLocks/>
          </p:cNvSpPr>
          <p:nvPr/>
        </p:nvSpPr>
        <p:spPr bwMode="gray">
          <a:xfrm>
            <a:off x="200030" y="188918"/>
            <a:ext cx="9490075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989013" rtl="0" eaLnBrk="0" fontAlgn="base" hangingPunct="0">
              <a:spcBef>
                <a:spcPct val="0"/>
              </a:spcBef>
              <a:spcAft>
                <a:spcPct val="0"/>
              </a:spcAft>
              <a:defRPr kumimoji="1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89013" rtl="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algn="l" defTabSz="989013" rtl="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algn="l" defTabSz="989013" rtl="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algn="l" defTabSz="989013" rtl="0" eaLnBrk="0" fontAlgn="base" hangingPunct="0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457200" algn="l" defTabSz="989013" rtl="0" fontAlgn="base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914400" algn="l" defTabSz="989013" rtl="0" fontAlgn="base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1371600" algn="l" defTabSz="989013" rtl="0" fontAlgn="base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1828800" algn="l" defTabSz="989013" rtl="0" fontAlgn="base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eaLnBrk="1" hangingPunct="1"/>
            <a:r>
              <a:rPr lang="ja-JP" altLang="en-US" sz="2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水素ステーション導入事例</a:t>
            </a:r>
          </a:p>
        </p:txBody>
      </p:sp>
      <p:sp>
        <p:nvSpPr>
          <p:cNvPr id="11" name="テキスト ボックス 10"/>
          <p:cNvSpPr txBox="1"/>
          <p:nvPr/>
        </p:nvSpPr>
        <p:spPr>
          <a:xfrm>
            <a:off x="996520" y="821577"/>
            <a:ext cx="35283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ja-JP" altLang="en-US" sz="2400" u="sng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埼玉県</a:t>
            </a:r>
          </a:p>
        </p:txBody>
      </p:sp>
      <p:sp>
        <p:nvSpPr>
          <p:cNvPr id="13" name="テキスト ボックス 12"/>
          <p:cNvSpPr txBox="1"/>
          <p:nvPr/>
        </p:nvSpPr>
        <p:spPr>
          <a:xfrm>
            <a:off x="9217025" y="6525344"/>
            <a:ext cx="6309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solidFill>
                  <a:prstClr val="white">
                    <a:lumMod val="50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5</a:t>
            </a:r>
            <a:endParaRPr lang="ja-JP" altLang="en-US" b="1" dirty="0">
              <a:solidFill>
                <a:prstClr val="white">
                  <a:lumMod val="50000"/>
                </a:prstClr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pic>
        <p:nvPicPr>
          <p:cNvPr id="12" name="Picture 2" descr="Z:\Rebirth\●再エネ室●\◎水素ビジョン関係\003-00公用FCV利活用\○イベント対応\20170817 夏休み環境学習教室\写真\IMG_0913.JPG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57843" y="1212654"/>
            <a:ext cx="3197007" cy="2397185"/>
          </a:xfrm>
          <a:prstGeom prst="rect">
            <a:avLst/>
          </a:prstGeom>
          <a:noFill/>
          <a:extLst/>
        </p:spPr>
      </p:pic>
      <p:sp>
        <p:nvSpPr>
          <p:cNvPr id="15" name="テキスト ボックス 14"/>
          <p:cNvSpPr txBox="1"/>
          <p:nvPr/>
        </p:nvSpPr>
        <p:spPr>
          <a:xfrm>
            <a:off x="5212359" y="3903446"/>
            <a:ext cx="36879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ja-JP" altLang="en-US" sz="2400" u="sng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郡山市</a:t>
            </a:r>
          </a:p>
        </p:txBody>
      </p:sp>
      <p:pic>
        <p:nvPicPr>
          <p:cNvPr id="16" name="図 15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516" y="1212647"/>
            <a:ext cx="3382400" cy="2425448"/>
          </a:xfrm>
          <a:prstGeom prst="rect">
            <a:avLst/>
          </a:prstGeom>
          <a:effectLst/>
        </p:spPr>
      </p:pic>
      <p:pic>
        <p:nvPicPr>
          <p:cNvPr id="3" name="図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9162" y="4365110"/>
            <a:ext cx="3174363" cy="2380771"/>
          </a:xfrm>
          <a:prstGeom prst="rect">
            <a:avLst/>
          </a:prstGeom>
        </p:spPr>
      </p:pic>
      <p:sp>
        <p:nvSpPr>
          <p:cNvPr id="17" name="テキスト ボックス 16"/>
          <p:cNvSpPr txBox="1"/>
          <p:nvPr/>
        </p:nvSpPr>
        <p:spPr>
          <a:xfrm>
            <a:off x="916736" y="3882097"/>
            <a:ext cx="36879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ja-JP" altLang="en-US" sz="2400" u="sng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（株）鈴木商館</a:t>
            </a:r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2220" y="4310770"/>
            <a:ext cx="3197007" cy="2397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0481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オブジェクト 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501" y="1604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8" name="オブジェクト 2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2501" y="1604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正方形/長方形 3"/>
          <p:cNvSpPr/>
          <p:nvPr/>
        </p:nvSpPr>
        <p:spPr>
          <a:xfrm>
            <a:off x="2325268" y="14590"/>
            <a:ext cx="5255468" cy="79168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lIns="86927" tIns="43463" rIns="86927" bIns="43463">
            <a:spAutoFit/>
          </a:bodyPr>
          <a:lstStyle/>
          <a:p>
            <a:pPr algn="ctr" defTabSz="870222"/>
            <a:r>
              <a:rPr lang="ja-JP" altLang="en-US" sz="2287" b="1" dirty="0">
                <a:solidFill>
                  <a:prstClr val="black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燃料電池バス（</a:t>
            </a:r>
            <a:r>
              <a:rPr lang="en-US" altLang="ja-JP" sz="2287" b="1" dirty="0">
                <a:solidFill>
                  <a:prstClr val="black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H25</a:t>
            </a:r>
            <a:r>
              <a:rPr lang="ja-JP" altLang="en-US" sz="2287" b="1" dirty="0">
                <a:solidFill>
                  <a:prstClr val="black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年度</a:t>
            </a:r>
            <a:r>
              <a:rPr lang="ja-JP" altLang="en-US" sz="2287" b="1" dirty="0" err="1">
                <a:solidFill>
                  <a:prstClr val="black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ー</a:t>
            </a:r>
            <a:r>
              <a:rPr lang="en-US" altLang="ja-JP" sz="2287" b="1" dirty="0">
                <a:solidFill>
                  <a:prstClr val="black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H27</a:t>
            </a:r>
            <a:r>
              <a:rPr lang="ja-JP" altLang="en-US" sz="2287" b="1" dirty="0">
                <a:solidFill>
                  <a:prstClr val="black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年度）</a:t>
            </a:r>
            <a:endParaRPr lang="en-US" altLang="ja-JP" sz="2287" b="1" dirty="0">
              <a:solidFill>
                <a:prstClr val="black"/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algn="ctr" defTabSz="870222"/>
            <a:r>
              <a:rPr lang="ja-JP" altLang="en-US" sz="2287" b="1" dirty="0">
                <a:solidFill>
                  <a:prstClr val="black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（日野自動車株式会社）</a:t>
            </a:r>
            <a:endParaRPr lang="ja-JP" altLang="ja-JP" sz="2287" b="1" dirty="0">
              <a:solidFill>
                <a:prstClr val="black"/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23" name="正方形/長方形 22"/>
          <p:cNvSpPr/>
          <p:nvPr/>
        </p:nvSpPr>
        <p:spPr>
          <a:xfrm>
            <a:off x="408245" y="901700"/>
            <a:ext cx="9073661" cy="1480880"/>
          </a:xfrm>
          <a:prstGeom prst="rect">
            <a:avLst/>
          </a:prstGeom>
          <a:gradFill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>
            <a:solidFill>
              <a:srgbClr val="98B954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6927" tIns="43463" rIns="86927" bIns="43463" anchor="ctr"/>
          <a:lstStyle/>
          <a:p>
            <a:pPr marL="244927" indent="-244927" algn="just" defTabSz="870222">
              <a:buFont typeface="Wingdings" pitchFamily="2" charset="2"/>
              <a:buChar char="Ø"/>
            </a:pPr>
            <a:r>
              <a:rPr lang="ja-JP" altLang="en-US" sz="1715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運輸部門の</a:t>
            </a:r>
            <a:r>
              <a:rPr lang="en-US" altLang="ja-JP" sz="1715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CO2</a:t>
            </a:r>
            <a:r>
              <a:rPr lang="ja-JP" altLang="en-US" sz="1715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排出削減のため、大型路線用燃料電池バスの開発・実証を実施。</a:t>
            </a:r>
            <a:endParaRPr lang="en-US" altLang="ja-JP" sz="1715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marL="244927" indent="-244927" algn="just" defTabSz="870222">
              <a:buFont typeface="Wingdings" pitchFamily="2" charset="2"/>
              <a:buChar char="Ø"/>
            </a:pPr>
            <a:r>
              <a:rPr lang="ja-JP" altLang="en-US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平成</a:t>
            </a:r>
            <a:r>
              <a:rPr lang="en-US" altLang="ja-JP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6</a:t>
            </a:r>
            <a:r>
              <a:rPr lang="ja-JP" altLang="en-US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度は同システムの台上評価、及び試作車両を製作して実車走行による基本機能・性能の評価を実施。</a:t>
            </a:r>
            <a:endParaRPr lang="en-US" altLang="ja-JP" sz="1715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marL="244927" indent="-244927" algn="just" defTabSz="870222">
              <a:buFont typeface="Wingdings" pitchFamily="2" charset="2"/>
              <a:buChar char="Ø"/>
            </a:pPr>
            <a:r>
              <a:rPr lang="ja-JP" altLang="en-US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動力性能、信頼性、耐久性の向上等に取り組んだ。</a:t>
            </a:r>
            <a:endParaRPr lang="en-US" altLang="ja-JP" sz="1715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grpSp>
        <p:nvGrpSpPr>
          <p:cNvPr id="6" name="グループ化 5"/>
          <p:cNvGrpSpPr>
            <a:grpSpLocks noChangeAspect="1"/>
          </p:cNvGrpSpPr>
          <p:nvPr/>
        </p:nvGrpSpPr>
        <p:grpSpPr>
          <a:xfrm>
            <a:off x="2393954" y="2614914"/>
            <a:ext cx="5118107" cy="3677987"/>
            <a:chOff x="2000672" y="1772816"/>
            <a:chExt cx="6696744" cy="4442246"/>
          </a:xfrm>
        </p:grpSpPr>
        <p:pic>
          <p:nvPicPr>
            <p:cNvPr id="3" name="図 2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000672" y="1772816"/>
              <a:ext cx="6696744" cy="4442246"/>
            </a:xfrm>
            <a:prstGeom prst="rect">
              <a:avLst/>
            </a:prstGeom>
          </p:spPr>
        </p:pic>
        <p:sp>
          <p:nvSpPr>
            <p:cNvPr id="5" name="正方形/長方形 4"/>
            <p:cNvSpPr/>
            <p:nvPr/>
          </p:nvSpPr>
          <p:spPr>
            <a:xfrm>
              <a:off x="6614110" y="5507706"/>
              <a:ext cx="504056" cy="350897"/>
            </a:xfrm>
            <a:custGeom>
              <a:avLst/>
              <a:gdLst>
                <a:gd name="connsiteX0" fmla="*/ 0 w 504056"/>
                <a:gd name="connsiteY0" fmla="*/ 0 h 288032"/>
                <a:gd name="connsiteX1" fmla="*/ 504056 w 504056"/>
                <a:gd name="connsiteY1" fmla="*/ 0 h 288032"/>
                <a:gd name="connsiteX2" fmla="*/ 504056 w 504056"/>
                <a:gd name="connsiteY2" fmla="*/ 288032 h 288032"/>
                <a:gd name="connsiteX3" fmla="*/ 0 w 504056"/>
                <a:gd name="connsiteY3" fmla="*/ 288032 h 288032"/>
                <a:gd name="connsiteX4" fmla="*/ 0 w 504056"/>
                <a:gd name="connsiteY4" fmla="*/ 0 h 288032"/>
                <a:gd name="connsiteX0" fmla="*/ 0 w 504056"/>
                <a:gd name="connsiteY0" fmla="*/ 28575 h 316607"/>
                <a:gd name="connsiteX1" fmla="*/ 502151 w 504056"/>
                <a:gd name="connsiteY1" fmla="*/ 0 h 316607"/>
                <a:gd name="connsiteX2" fmla="*/ 504056 w 504056"/>
                <a:gd name="connsiteY2" fmla="*/ 316607 h 316607"/>
                <a:gd name="connsiteX3" fmla="*/ 0 w 504056"/>
                <a:gd name="connsiteY3" fmla="*/ 316607 h 316607"/>
                <a:gd name="connsiteX4" fmla="*/ 0 w 504056"/>
                <a:gd name="connsiteY4" fmla="*/ 28575 h 316607"/>
                <a:gd name="connsiteX0" fmla="*/ 0 w 504056"/>
                <a:gd name="connsiteY0" fmla="*/ 28575 h 350897"/>
                <a:gd name="connsiteX1" fmla="*/ 502151 w 504056"/>
                <a:gd name="connsiteY1" fmla="*/ 0 h 350897"/>
                <a:gd name="connsiteX2" fmla="*/ 504056 w 504056"/>
                <a:gd name="connsiteY2" fmla="*/ 316607 h 350897"/>
                <a:gd name="connsiteX3" fmla="*/ 1905 w 504056"/>
                <a:gd name="connsiteY3" fmla="*/ 350897 h 350897"/>
                <a:gd name="connsiteX4" fmla="*/ 0 w 504056"/>
                <a:gd name="connsiteY4" fmla="*/ 28575 h 35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4056" h="350897">
                  <a:moveTo>
                    <a:pt x="0" y="28575"/>
                  </a:moveTo>
                  <a:lnTo>
                    <a:pt x="502151" y="0"/>
                  </a:lnTo>
                  <a:lnTo>
                    <a:pt x="504056" y="316607"/>
                  </a:lnTo>
                  <a:lnTo>
                    <a:pt x="1905" y="350897"/>
                  </a:lnTo>
                  <a:lnTo>
                    <a:pt x="0" y="2857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222"/>
              <a:endParaRPr lang="ja-JP" altLang="en-US" sz="1715">
                <a:solidFill>
                  <a:prstClr val="white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</p:grpSp>
      <p:graphicFrame>
        <p:nvGraphicFramePr>
          <p:cNvPr id="10" name="表 9"/>
          <p:cNvGraphicFramePr>
            <a:graphicFrameLocks noGrp="1"/>
          </p:cNvGraphicFramePr>
          <p:nvPr>
            <p:extLst/>
          </p:nvPr>
        </p:nvGraphicFramePr>
        <p:xfrm>
          <a:off x="493854" y="6568660"/>
          <a:ext cx="8347585" cy="18744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975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500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7443">
                <a:tc>
                  <a:txBody>
                    <a:bodyPr/>
                    <a:lstStyle/>
                    <a:p>
                      <a:r>
                        <a:rPr kumimoji="1" lang="ja-JP" altLang="en-US" sz="900" baseline="0" dirty="0">
                          <a:latin typeface="+mn-lt"/>
                          <a:ea typeface="+mn-ea"/>
                        </a:rPr>
                        <a:t>出所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en-US" altLang="ja-JP" sz="9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CO2</a:t>
                      </a:r>
                      <a:r>
                        <a:rPr lang="ja-JP" altLang="en-US" sz="9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排出削減対策強化誘導型技術開発を基に環境省作成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2" name="テキスト ボックス 11"/>
          <p:cNvSpPr txBox="1"/>
          <p:nvPr/>
        </p:nvSpPr>
        <p:spPr>
          <a:xfrm>
            <a:off x="9217025" y="6525344"/>
            <a:ext cx="6309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solidFill>
                  <a:prstClr val="white">
                    <a:lumMod val="50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6</a:t>
            </a:r>
            <a:endParaRPr lang="ja-JP" altLang="en-US" b="1" dirty="0">
              <a:solidFill>
                <a:prstClr val="white">
                  <a:lumMod val="50000"/>
                </a:prstClr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435968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正方形/長方形 5"/>
          <p:cNvSpPr/>
          <p:nvPr/>
        </p:nvSpPr>
        <p:spPr>
          <a:xfrm>
            <a:off x="606854" y="160601"/>
            <a:ext cx="8692307" cy="43973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lIns="86927" tIns="43463" rIns="86927" bIns="43463">
            <a:spAutoFit/>
          </a:bodyPr>
          <a:lstStyle/>
          <a:p>
            <a:pPr algn="ctr" defTabSz="870222"/>
            <a:r>
              <a:rPr lang="ja-JP" altLang="en-US" sz="2287" b="1" dirty="0">
                <a:solidFill>
                  <a:prstClr val="black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燃料電池バスの実用化（平成</a:t>
            </a:r>
            <a:r>
              <a:rPr lang="en-US" altLang="ja-JP" sz="2287" b="1" dirty="0">
                <a:solidFill>
                  <a:prstClr val="black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29</a:t>
            </a:r>
            <a:r>
              <a:rPr lang="ja-JP" altLang="en-US" sz="2287" b="1" dirty="0">
                <a:solidFill>
                  <a:prstClr val="black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年</a:t>
            </a:r>
            <a:r>
              <a:rPr lang="en-US" altLang="ja-JP" sz="2287" b="1" dirty="0">
                <a:solidFill>
                  <a:prstClr val="black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3</a:t>
            </a:r>
            <a:r>
              <a:rPr lang="ja-JP" altLang="en-US" sz="2287" b="1" dirty="0">
                <a:solidFill>
                  <a:prstClr val="black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月運行開始　東京都交通局）</a:t>
            </a:r>
            <a:endParaRPr lang="ja-JP" altLang="ja-JP" sz="2287" b="1" dirty="0">
              <a:solidFill>
                <a:prstClr val="black"/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7" name="正方形/長方形 6"/>
          <p:cNvSpPr/>
          <p:nvPr/>
        </p:nvSpPr>
        <p:spPr>
          <a:xfrm>
            <a:off x="416177" y="702983"/>
            <a:ext cx="9073661" cy="1480880"/>
          </a:xfrm>
          <a:prstGeom prst="rect">
            <a:avLst/>
          </a:prstGeom>
          <a:gradFill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>
            <a:solidFill>
              <a:srgbClr val="98B954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6927" tIns="43463" rIns="86927" bIns="43463" anchor="ctr"/>
          <a:lstStyle/>
          <a:p>
            <a:pPr marL="244927" indent="-244927" algn="just" defTabSz="870222">
              <a:buFont typeface="Wingdings" pitchFamily="2" charset="2"/>
              <a:buChar char="Ø"/>
            </a:pPr>
            <a:r>
              <a:rPr lang="ja-JP" altLang="en-US" sz="1715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環境省事業で開発・実証が行われた燃料電池バスの技術を活用して、トヨタ自動車</a:t>
            </a:r>
            <a:r>
              <a:rPr lang="en-US" altLang="ja-JP" sz="1715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(</a:t>
            </a:r>
            <a:r>
              <a:rPr lang="ja-JP" altLang="en-US" sz="1715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株</a:t>
            </a:r>
            <a:r>
              <a:rPr lang="en-US" altLang="ja-JP" sz="1715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)</a:t>
            </a:r>
            <a:r>
              <a:rPr lang="ja-JP" altLang="en-US" sz="1715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より、市販車では日本初となる燃料電池バスが、平成</a:t>
            </a:r>
            <a:r>
              <a:rPr lang="en-US" altLang="ja-JP" sz="1715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9</a:t>
            </a:r>
            <a:r>
              <a:rPr lang="ja-JP" altLang="en-US" sz="1715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</a:t>
            </a:r>
            <a:r>
              <a:rPr lang="en-US" altLang="ja-JP" sz="1715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</a:t>
            </a:r>
            <a:r>
              <a:rPr lang="ja-JP" altLang="en-US" sz="1715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月に市場投入。</a:t>
            </a:r>
            <a:endParaRPr lang="en-US" altLang="ja-JP" sz="1715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marL="244927" indent="-244927" algn="just" defTabSz="870222">
              <a:buFont typeface="Wingdings" pitchFamily="2" charset="2"/>
              <a:buChar char="Ø"/>
            </a:pPr>
            <a:r>
              <a:rPr lang="ja-JP" altLang="en-US" sz="1715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この燃料電池バスは、東京都交通局の路線バスとして平成</a:t>
            </a:r>
            <a:r>
              <a:rPr lang="en-US" altLang="ja-JP" sz="1715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9</a:t>
            </a:r>
            <a:r>
              <a:rPr lang="ja-JP" altLang="en-US" sz="1715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</a:t>
            </a:r>
            <a:r>
              <a:rPr lang="en-US" altLang="ja-JP" sz="1715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3</a:t>
            </a:r>
            <a:r>
              <a:rPr lang="ja-JP" altLang="en-US" sz="1715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月より営業運行を開始。</a:t>
            </a:r>
            <a:endParaRPr lang="en-US" altLang="ja-JP" sz="1715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marL="244927" indent="-244927" algn="just" defTabSz="870222">
              <a:buFont typeface="Wingdings" pitchFamily="2" charset="2"/>
              <a:buChar char="Ø"/>
            </a:pPr>
            <a:r>
              <a:rPr lang="ja-JP" altLang="en-US" sz="1715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今後、燃料電池バスは、</a:t>
            </a:r>
            <a:r>
              <a:rPr lang="en-US" altLang="ja-JP" sz="1715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020</a:t>
            </a:r>
            <a:r>
              <a:rPr lang="ja-JP" altLang="en-US" sz="1715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の東京オリンピック・パラリンピックに向けて東京を中心に</a:t>
            </a:r>
            <a:r>
              <a:rPr lang="en-US" altLang="ja-JP" sz="1715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100</a:t>
            </a:r>
            <a:r>
              <a:rPr lang="ja-JP" altLang="en-US" sz="1715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台以上を導入予定。</a:t>
            </a:r>
          </a:p>
        </p:txBody>
      </p:sp>
      <p:pic>
        <p:nvPicPr>
          <p:cNvPr id="10" name="図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1725" y="2636912"/>
            <a:ext cx="3574700" cy="3960440"/>
          </a:xfrm>
          <a:prstGeom prst="rect">
            <a:avLst/>
          </a:prstGeom>
        </p:spPr>
      </p:pic>
      <p:pic>
        <p:nvPicPr>
          <p:cNvPr id="11" name="図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7216" y="4354822"/>
            <a:ext cx="4461667" cy="1523987"/>
          </a:xfrm>
          <a:prstGeom prst="rect">
            <a:avLst/>
          </a:prstGeom>
        </p:spPr>
      </p:pic>
      <p:sp>
        <p:nvSpPr>
          <p:cNvPr id="12" name="正方形/長方形 11"/>
          <p:cNvSpPr/>
          <p:nvPr/>
        </p:nvSpPr>
        <p:spPr>
          <a:xfrm>
            <a:off x="345840" y="2708935"/>
            <a:ext cx="5224377" cy="1671285"/>
          </a:xfrm>
          <a:prstGeom prst="rect">
            <a:avLst/>
          </a:prstGeom>
        </p:spPr>
        <p:txBody>
          <a:bodyPr wrap="square" lIns="86927" tIns="43463" rIns="86927" bIns="43463">
            <a:spAutoFit/>
          </a:bodyPr>
          <a:lstStyle/>
          <a:p>
            <a:pPr defTabSz="870222"/>
            <a:r>
              <a:rPr lang="en-US" altLang="ja-JP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【</a:t>
            </a:r>
            <a:r>
              <a:rPr lang="ja-JP" altLang="en-US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都営バス運行情報</a:t>
            </a:r>
            <a:r>
              <a:rPr lang="en-US" altLang="ja-JP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】</a:t>
            </a:r>
            <a:endParaRPr lang="en-US" altLang="zh-TW" sz="1715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defTabSz="870222"/>
            <a:r>
              <a:rPr lang="ja-JP" altLang="en-US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</a:t>
            </a:r>
            <a:r>
              <a:rPr lang="zh-TW" altLang="en-US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営業運行開始日</a:t>
            </a:r>
            <a:r>
              <a:rPr lang="ja-JP" altLang="en-US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：</a:t>
            </a:r>
            <a:r>
              <a:rPr lang="zh-TW" altLang="en-US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平成</a:t>
            </a:r>
            <a:r>
              <a:rPr lang="en-US" altLang="zh-TW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9</a:t>
            </a:r>
            <a:r>
              <a:rPr lang="zh-TW" altLang="en-US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</a:t>
            </a:r>
            <a:r>
              <a:rPr lang="en-US" altLang="zh-TW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3</a:t>
            </a:r>
            <a:r>
              <a:rPr lang="zh-TW" altLang="en-US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月</a:t>
            </a:r>
            <a:r>
              <a:rPr lang="en-US" altLang="zh-TW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1</a:t>
            </a:r>
            <a:r>
              <a:rPr lang="zh-TW" altLang="en-US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日（火）</a:t>
            </a:r>
          </a:p>
          <a:p>
            <a:pPr defTabSz="870222"/>
            <a:endParaRPr lang="zh-TW" altLang="en-US" sz="1715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marL="2390531" indent="-2390531" defTabSz="870222"/>
            <a:r>
              <a:rPr lang="ja-JP" altLang="en-US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</a:t>
            </a:r>
            <a:r>
              <a:rPr lang="zh-TW" altLang="en-US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運行開始路線</a:t>
            </a:r>
            <a:r>
              <a:rPr lang="ja-JP" altLang="en-US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東京駅～（有楽町、晴海通り）～東京ビッグサイト</a:t>
            </a:r>
            <a:endParaRPr lang="en-US" altLang="zh-TW" sz="1715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defTabSz="870222"/>
            <a:r>
              <a:rPr lang="ja-JP" altLang="en-US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主な停留所</a:t>
            </a:r>
          </a:p>
        </p:txBody>
      </p:sp>
      <p:pic>
        <p:nvPicPr>
          <p:cNvPr id="13" name="図 1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403" y="4592179"/>
            <a:ext cx="1754423" cy="1069101"/>
          </a:xfrm>
          <a:prstGeom prst="rect">
            <a:avLst/>
          </a:prstGeom>
        </p:spPr>
      </p:pic>
      <p:graphicFrame>
        <p:nvGraphicFramePr>
          <p:cNvPr id="9" name="表 8"/>
          <p:cNvGraphicFramePr>
            <a:graphicFrameLocks noGrp="1"/>
          </p:cNvGraphicFramePr>
          <p:nvPr>
            <p:extLst/>
          </p:nvPr>
        </p:nvGraphicFramePr>
        <p:xfrm>
          <a:off x="493854" y="6568660"/>
          <a:ext cx="8491602" cy="18744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043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872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7443">
                <a:tc>
                  <a:txBody>
                    <a:bodyPr/>
                    <a:lstStyle/>
                    <a:p>
                      <a:r>
                        <a:rPr kumimoji="1" lang="ja-JP" altLang="en-US" sz="900" baseline="0" dirty="0">
                          <a:latin typeface="+mn-lt"/>
                          <a:ea typeface="+mn-ea"/>
                        </a:rPr>
                        <a:t>出所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ja-JP" altLang="en-US" sz="9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東京都</a:t>
                      </a:r>
                      <a:r>
                        <a:rPr lang="ja-JP" altLang="en-US" sz="900" baseline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 交通局の公表資料を</a:t>
                      </a:r>
                      <a:r>
                        <a:rPr lang="ja-JP" altLang="en-US" sz="9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基に環境省作成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4" name="テキスト ボックス 13"/>
          <p:cNvSpPr txBox="1"/>
          <p:nvPr/>
        </p:nvSpPr>
        <p:spPr>
          <a:xfrm>
            <a:off x="9217025" y="6525344"/>
            <a:ext cx="6309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solidFill>
                  <a:prstClr val="white">
                    <a:lumMod val="50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7</a:t>
            </a:r>
            <a:endParaRPr lang="ja-JP" altLang="en-US" b="1" dirty="0">
              <a:solidFill>
                <a:prstClr val="white">
                  <a:lumMod val="50000"/>
                </a:prstClr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627343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オブジェクト 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501" y="1604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8" name="オブジェクト 2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2501" y="1604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図 1" descr="画面の領域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93063" y="2285304"/>
            <a:ext cx="4519887" cy="4198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正方形/長方形 25"/>
          <p:cNvSpPr/>
          <p:nvPr/>
        </p:nvSpPr>
        <p:spPr>
          <a:xfrm>
            <a:off x="1591895" y="-17097"/>
            <a:ext cx="6722217" cy="79168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lIns="86927" tIns="43463" rIns="86927" bIns="43463">
            <a:spAutoFit/>
          </a:bodyPr>
          <a:lstStyle/>
          <a:p>
            <a:pPr algn="ctr" defTabSz="870222"/>
            <a:r>
              <a:rPr lang="ja-JP" altLang="en-US" sz="2287" b="1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燃料電池フォークリフト（</a:t>
            </a:r>
            <a:r>
              <a:rPr lang="en-US" altLang="ja-JP" sz="2287" b="1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H26</a:t>
            </a:r>
            <a:r>
              <a:rPr lang="ja-JP" altLang="en-US" sz="2287" b="1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度</a:t>
            </a:r>
            <a:r>
              <a:rPr lang="ja-JP" altLang="en-US" sz="2287" b="1" dirty="0" err="1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ー</a:t>
            </a:r>
            <a:r>
              <a:rPr lang="en-US" altLang="ja-JP" sz="2287" b="1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H28</a:t>
            </a:r>
            <a:r>
              <a:rPr lang="ja-JP" altLang="en-US" sz="2287" b="1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度）</a:t>
            </a:r>
            <a:endParaRPr lang="en-US" altLang="ja-JP" sz="2287" b="1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algn="ctr" defTabSz="870222"/>
            <a:r>
              <a:rPr lang="ja-JP" altLang="en-US" sz="2287" b="1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（株式会社豊田自動織機）</a:t>
            </a:r>
            <a:endParaRPr lang="ja-JP" altLang="ja-JP" sz="2287" b="1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66" name="正方形/長方形 65"/>
          <p:cNvSpPr/>
          <p:nvPr/>
        </p:nvSpPr>
        <p:spPr>
          <a:xfrm>
            <a:off x="416175" y="857293"/>
            <a:ext cx="9073663" cy="1214413"/>
          </a:xfrm>
          <a:prstGeom prst="rect">
            <a:avLst/>
          </a:prstGeom>
          <a:gradFill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>
            <a:solidFill>
              <a:srgbClr val="98B954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6927" tIns="43463" rIns="86927" bIns="43463" anchor="ctr"/>
          <a:lstStyle/>
          <a:p>
            <a:pPr marL="244927" indent="-244927" algn="just" defTabSz="870222">
              <a:buFont typeface="Wingdings" pitchFamily="2" charset="2"/>
              <a:buChar char="Ø"/>
            </a:pPr>
            <a:r>
              <a:rPr lang="ja-JP" altLang="en-US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低コスト化、システム効率の向上、耐久性の向上等を実施。平成</a:t>
            </a:r>
            <a:r>
              <a:rPr lang="en-US" altLang="ja-JP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8</a:t>
            </a:r>
            <a:r>
              <a:rPr lang="ja-JP" altLang="en-US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</a:t>
            </a:r>
            <a:r>
              <a:rPr lang="en-US" altLang="ja-JP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11</a:t>
            </a:r>
            <a:r>
              <a:rPr lang="ja-JP" altLang="en-US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月に市場投入。</a:t>
            </a:r>
            <a:endParaRPr lang="en-US" altLang="ja-JP" sz="1715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marL="244927" indent="-244927" algn="just" defTabSz="870222">
              <a:buFont typeface="Wingdings" pitchFamily="2" charset="2"/>
              <a:buChar char="Ø"/>
            </a:pPr>
            <a:r>
              <a:rPr lang="ja-JP" altLang="en-US" sz="1715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高圧水素配管により複数の屋内ディスペンサーへ供給する最適水素インフラの構築も行う。</a:t>
            </a:r>
            <a:endParaRPr lang="en-US" altLang="ja-JP" sz="1715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graphicFrame>
        <p:nvGraphicFramePr>
          <p:cNvPr id="8" name="表 7"/>
          <p:cNvGraphicFramePr>
            <a:graphicFrameLocks noGrp="1"/>
          </p:cNvGraphicFramePr>
          <p:nvPr>
            <p:extLst/>
          </p:nvPr>
        </p:nvGraphicFramePr>
        <p:xfrm>
          <a:off x="493854" y="6568660"/>
          <a:ext cx="8563610" cy="18744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077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558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7443">
                <a:tc>
                  <a:txBody>
                    <a:bodyPr/>
                    <a:lstStyle/>
                    <a:p>
                      <a:r>
                        <a:rPr kumimoji="1" lang="ja-JP" altLang="en-US" sz="900" baseline="0" dirty="0">
                          <a:latin typeface="+mn-lt"/>
                          <a:ea typeface="+mn-ea"/>
                        </a:rPr>
                        <a:t>出所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ja-JP" altLang="en-US" sz="9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物流分野における</a:t>
                      </a:r>
                      <a:r>
                        <a:rPr lang="en-US" altLang="ja-JP" sz="9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CO2</a:t>
                      </a:r>
                      <a:r>
                        <a:rPr lang="ja-JP" altLang="en-US" sz="9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削減対策促進事業を基に環境省作成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" name="テキスト ボックス 8"/>
          <p:cNvSpPr txBox="1"/>
          <p:nvPr/>
        </p:nvSpPr>
        <p:spPr>
          <a:xfrm>
            <a:off x="9217025" y="6525344"/>
            <a:ext cx="6309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solidFill>
                  <a:prstClr val="white">
                    <a:lumMod val="50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8</a:t>
            </a:r>
            <a:endParaRPr lang="ja-JP" altLang="en-US" b="1" dirty="0">
              <a:solidFill>
                <a:prstClr val="white">
                  <a:lumMod val="50000"/>
                </a:prstClr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669496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資料フォーマット_20170519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ユーザー定義 1">
      <a:majorFont>
        <a:latin typeface="Segoe UI"/>
        <a:ea typeface="メイリオ"/>
        <a:cs typeface=""/>
      </a:majorFont>
      <a:minorFont>
        <a:latin typeface="Segoe UI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GPｺﾞｼｯｸM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GPｺﾞｼｯｸM" pitchFamily="50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kumimoji="1" dirty="0" smtClean="0">
            <a:latin typeface="+mn-lt"/>
            <a:ea typeface="+mn-ea"/>
          </a:defRPr>
        </a:defPPr>
      </a:lstStyle>
    </a:txDef>
  </a:objectDefaults>
  <a:extraClrSchemeLst>
    <a:extraClrScheme>
      <a:clrScheme name="20120112_提案書テンプレート_Ver.1.2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6699FF"/>
        </a:accent1>
        <a:accent2>
          <a:srgbClr val="FF3300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E72D00"/>
        </a:accent6>
        <a:hlink>
          <a:srgbClr val="00CC66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0112_提案書テンプレート_Ver.1.23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DDDD"/>
        </a:accent1>
        <a:accent2>
          <a:srgbClr val="FFFF99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E7E78A"/>
        </a:accent6>
        <a:hlink>
          <a:srgbClr val="00CC66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DTC Template_J_2017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wrap="square" lIns="36000" tIns="36000" rIns="36000" bIns="36000" rtlCol="0" anchor="ctr"/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Proposal Template_J（DTC）20161001.pptx" id="{F224C473-3A96-471B-98CD-368A8DF89C9E}" vid="{7A8203CA-1828-4D81-B338-32EAEFCC1791}"/>
    </a:ext>
  </a:extLst>
</a:theme>
</file>

<file path=ppt/theme/theme3.xml><?xml version="1.0" encoding="utf-8"?>
<a:theme xmlns:a="http://schemas.openxmlformats.org/drawingml/2006/main" name="6_デザインの設定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090</TotalTime>
  <Words>899</Words>
  <Application>Microsoft Office PowerPoint</Application>
  <PresentationFormat>A4 210 x 297 mm</PresentationFormat>
  <Paragraphs>157</Paragraphs>
  <Slides>8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5</vt:i4>
      </vt:variant>
      <vt:variant>
        <vt:lpstr>テーマ</vt:lpstr>
      </vt:variant>
      <vt:variant>
        <vt:i4>4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8</vt:i4>
      </vt:variant>
    </vt:vector>
  </HeadingPairs>
  <TitlesOfParts>
    <vt:vector size="28" baseType="lpstr">
      <vt:lpstr>HGPｺﾞｼｯｸE</vt:lpstr>
      <vt:lpstr>HG丸ｺﾞｼｯｸM-PRO</vt:lpstr>
      <vt:lpstr>Meiryo UI</vt:lpstr>
      <vt:lpstr>ＭＳ Ｐゴシック</vt:lpstr>
      <vt:lpstr>メイリオ</vt:lpstr>
      <vt:lpstr>游ゴシック</vt:lpstr>
      <vt:lpstr>游ゴシック Light</vt:lpstr>
      <vt:lpstr>Arial</vt:lpstr>
      <vt:lpstr>Calibri</vt:lpstr>
      <vt:lpstr>Cambria</vt:lpstr>
      <vt:lpstr>Segoe UI</vt:lpstr>
      <vt:lpstr>Times New Roman</vt:lpstr>
      <vt:lpstr>Verdana</vt:lpstr>
      <vt:lpstr>Wingdings</vt:lpstr>
      <vt:lpstr>Wingdings 2</vt:lpstr>
      <vt:lpstr>4_資料フォーマット_20170519</vt:lpstr>
      <vt:lpstr>DTC Template_J_2017</vt:lpstr>
      <vt:lpstr>6_デザインの設定</vt:lpstr>
      <vt:lpstr>Office テーマ</vt:lpstr>
      <vt:lpstr>think-cell Slide</vt:lpstr>
      <vt:lpstr>PowerPoint プレゼンテーション</vt:lpstr>
      <vt:lpstr>PowerPoint プレゼンテーション</vt:lpstr>
      <vt:lpstr>PowerPoint プレゼンテーション</vt:lpstr>
      <vt:lpstr>地域再エネ水素ステーション導入事業による導入状況  （2018年3月時点）</vt:lpstr>
      <vt:lpstr>宮城県</vt:lpstr>
      <vt:lpstr>PowerPoint プレゼンテーション</vt:lpstr>
      <vt:lpstr>PowerPoint プレゼンテーション</vt:lpstr>
      <vt:lpstr>PowerPoint プレゼンテーション</vt:lpstr>
    </vt:vector>
  </TitlesOfParts>
  <Company>環境省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予算名 平成26年度概算要求額○○（○○）</dc:title>
  <dc:creator>勝亦 淳樹</dc:creator>
  <cp:lastModifiedBy>稲 佳奈／リサーチ・コンサル／JRI (ina kana)</cp:lastModifiedBy>
  <cp:revision>395</cp:revision>
  <cp:lastPrinted>2018-04-10T13:59:33Z</cp:lastPrinted>
  <dcterms:created xsi:type="dcterms:W3CDTF">2012-11-02T13:24:31Z</dcterms:created>
  <dcterms:modified xsi:type="dcterms:W3CDTF">2018-05-15T05:11:12Z</dcterms:modified>
</cp:coreProperties>
</file>